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44.xml" ContentType="application/vnd.openxmlformats-officedocument.presentationml.tags+xml"/>
  <Override PartName="/ppt/notesSlides/notesSlide10.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2.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1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15.xml" ContentType="application/vnd.openxmlformats-officedocument.presentationml.notesSlide+xml"/>
  <Override PartName="/ppt/charts/chart11.xml" ContentType="application/vnd.openxmlformats-officedocument.drawingml.chart+xml"/>
  <Override PartName="/ppt/tags/tag141.xml" ContentType="application/vnd.openxmlformats-officedocument.presentationml.tags+xml"/>
  <Override PartName="/ppt/notesSlides/notesSlide16.xml" ContentType="application/vnd.openxmlformats-officedocument.presentationml.notesSlide+xml"/>
  <Override PartName="/ppt/tags/tag142.xml" ContentType="application/vnd.openxmlformats-officedocument.presentationml.tags+xml"/>
  <Override PartName="/ppt/notesSlides/notesSlide17.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18.xml" ContentType="application/vnd.openxmlformats-officedocument.presentationml.notesSlide+xml"/>
  <Override PartName="/ppt/charts/chart12.xml" ContentType="application/vnd.openxmlformats-officedocument.drawingml.chart+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19.xml" ContentType="application/vnd.openxmlformats-officedocument.presentationml.notesSlide+xml"/>
  <Override PartName="/ppt/charts/chart13.xml" ContentType="application/vnd.openxmlformats-officedocument.drawingml.chart+xml"/>
  <Override PartName="/ppt/tags/tag185.xml" ContentType="application/vnd.openxmlformats-officedocument.presentationml.tags+xml"/>
  <Override PartName="/ppt/notesSlides/notesSlide20.xml" ContentType="application/vnd.openxmlformats-officedocument.presentationml.notesSlide+xml"/>
  <Override PartName="/ppt/tags/tag186.xml" ContentType="application/vnd.openxmlformats-officedocument.presentationml.tags+xml"/>
  <Override PartName="/ppt/notesSlides/notesSlide21.xml" ContentType="application/vnd.openxmlformats-officedocument.presentationml.notesSlide+xml"/>
  <Override PartName="/ppt/tags/tag187.xml" ContentType="application/vnd.openxmlformats-officedocument.presentationml.tags+xml"/>
  <Override PartName="/ppt/notesSlides/notesSlide22.xml" ContentType="application/vnd.openxmlformats-officedocument.presentationml.notesSlide+xml"/>
  <Override PartName="/ppt/tags/tag188.xml" ContentType="application/vnd.openxmlformats-officedocument.presentationml.tags+xml"/>
  <Override PartName="/ppt/notesSlides/notesSlide23.xml" ContentType="application/vnd.openxmlformats-officedocument.presentationml.notesSlide+xml"/>
  <Override PartName="/ppt/tags/tag189.xml" ContentType="application/vnd.openxmlformats-officedocument.presentationml.tags+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9"/>
  </p:notesMasterIdLst>
  <p:handoutMasterIdLst>
    <p:handoutMasterId r:id="rId30"/>
  </p:handoutMasterIdLst>
  <p:sldIdLst>
    <p:sldId id="4436" r:id="rId5"/>
    <p:sldId id="4481" r:id="rId6"/>
    <p:sldId id="4486" r:id="rId7"/>
    <p:sldId id="4457" r:id="rId8"/>
    <p:sldId id="4456" r:id="rId9"/>
    <p:sldId id="4487" r:id="rId10"/>
    <p:sldId id="4494" r:id="rId11"/>
    <p:sldId id="4482" r:id="rId12"/>
    <p:sldId id="4461" r:id="rId13"/>
    <p:sldId id="4488" r:id="rId14"/>
    <p:sldId id="4467" r:id="rId15"/>
    <p:sldId id="4489" r:id="rId16"/>
    <p:sldId id="4490" r:id="rId17"/>
    <p:sldId id="4491" r:id="rId18"/>
    <p:sldId id="4466" r:id="rId19"/>
    <p:sldId id="4463" r:id="rId20"/>
    <p:sldId id="4468" r:id="rId21"/>
    <p:sldId id="4492" r:id="rId22"/>
    <p:sldId id="4493" r:id="rId23"/>
    <p:sldId id="4474" r:id="rId24"/>
    <p:sldId id="4475" r:id="rId25"/>
    <p:sldId id="4495" r:id="rId26"/>
    <p:sldId id="4496" r:id="rId27"/>
    <p:sldId id="4451" r:id="rId28"/>
  </p:sldIdLst>
  <p:sldSz cx="12192000" cy="6858000"/>
  <p:notesSz cx="7010400" cy="9296400"/>
  <p:custDataLst>
    <p:tags r:id="rId31"/>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userDrawn="1">
          <p15:clr>
            <a:srgbClr val="A4A3A4"/>
          </p15:clr>
        </p15:guide>
        <p15:guide id="2" pos="37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748954F-04B3-0DD2-6899-0B2F5BFB5666}" name="Polanco Zanetta, Sebastian" initials="SP" userId="S::sebastian.polanco@cencosud.cl::679afde1-f2ca-45a1-83ca-bc48414eb788" providerId="AD"/>
  <p188:author id="{C9EC2066-3B59-D9E2-7FD8-5EC0CAB209DB}" name="Guarda Madriaza, Andres" initials="AG" userId="S::andres.guardamadriaza@cencosud.cl::524f1fec-b848-4aa4-ad30-b433d0ef7cfd" providerId="AD"/>
  <p188:author id="{9764BCB8-3A25-0708-3E63-19D668056DA8}" name="Aguirre Rius, Matias" initials="ARM" userId="S::matias.aguirre@cencosud.cl::c34cd076-2c5d-4f98-ac76-6d196acf7a8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241660"/>
    <a:srgbClr val="DAEBF2"/>
    <a:srgbClr val="8200FF"/>
    <a:srgbClr val="00B1FF"/>
    <a:srgbClr val="021766"/>
    <a:srgbClr val="00E0F1"/>
    <a:srgbClr val="034A92"/>
    <a:srgbClr val="0FE0AA"/>
    <a:srgbClr val="0478A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2DE69D-8C9F-4CB1-8222-8CA7389F170C}" v="8180" dt="2025-05-07T16:57:25.740"/>
  </p1510:revLst>
</p1510:revInfo>
</file>

<file path=ppt/tableStyles.xml><?xml version="1.0" encoding="utf-8"?>
<a:tblStyleLst xmlns:a="http://schemas.openxmlformats.org/drawingml/2006/main" def="{5C22544A-7EE6-4342-B048-85BDC9FD1C3A}">
  <a:tblStyle styleId="{284E427A-3D55-4303-BF80-6455036E1DE7}" styleName="Estilo temático 1 - Énfasis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756" y="96"/>
      </p:cViewPr>
      <p:guideLst>
        <p:guide orient="horz" pos="935"/>
        <p:guide pos="37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arda Madriaza, Andres" userId="524f1fec-b848-4aa4-ad30-b433d0ef7cfd" providerId="ADAL" clId="{F0859668-BB13-444E-9498-EBDDB3C7F861}"/>
    <pc:docChg chg="undo redo custSel delSld modSld sldOrd">
      <pc:chgData name="Guarda Madriaza, Andres" userId="524f1fec-b848-4aa4-ad30-b433d0ef7cfd" providerId="ADAL" clId="{F0859668-BB13-444E-9498-EBDDB3C7F861}" dt="2025-05-02T15:56:03.727" v="5509" actId="1035"/>
      <pc:docMkLst>
        <pc:docMk/>
      </pc:docMkLst>
      <pc:sldChg chg="del">
        <pc:chgData name="Guarda Madriaza, Andres" userId="524f1fec-b848-4aa4-ad30-b433d0ef7cfd" providerId="ADAL" clId="{F0859668-BB13-444E-9498-EBDDB3C7F861}" dt="2025-05-02T04:54:21.764" v="5351" actId="47"/>
        <pc:sldMkLst>
          <pc:docMk/>
          <pc:sldMk cId="1041560368" sldId="285"/>
        </pc:sldMkLst>
      </pc:sldChg>
      <pc:sldChg chg="del">
        <pc:chgData name="Guarda Madriaza, Andres" userId="524f1fec-b848-4aa4-ad30-b433d0ef7cfd" providerId="ADAL" clId="{F0859668-BB13-444E-9498-EBDDB3C7F861}" dt="2025-05-02T04:54:21.764" v="5351" actId="47"/>
        <pc:sldMkLst>
          <pc:docMk/>
          <pc:sldMk cId="514426551" sldId="286"/>
        </pc:sldMkLst>
      </pc:sldChg>
      <pc:sldChg chg="del">
        <pc:chgData name="Guarda Madriaza, Andres" userId="524f1fec-b848-4aa4-ad30-b433d0ef7cfd" providerId="ADAL" clId="{F0859668-BB13-444E-9498-EBDDB3C7F861}" dt="2025-05-02T04:54:21.764" v="5351" actId="47"/>
        <pc:sldMkLst>
          <pc:docMk/>
          <pc:sldMk cId="3762691472" sldId="292"/>
        </pc:sldMkLst>
      </pc:sldChg>
      <pc:sldChg chg="modSp mod">
        <pc:chgData name="Guarda Madriaza, Andres" userId="524f1fec-b848-4aa4-ad30-b433d0ef7cfd" providerId="ADAL" clId="{F0859668-BB13-444E-9498-EBDDB3C7F861}" dt="2025-05-01T19:11:07.471" v="1336" actId="14100"/>
        <pc:sldMkLst>
          <pc:docMk/>
          <pc:sldMk cId="1552440686" sldId="4436"/>
        </pc:sldMkLst>
        <pc:spChg chg="mod">
          <ac:chgData name="Guarda Madriaza, Andres" userId="524f1fec-b848-4aa4-ad30-b433d0ef7cfd" providerId="ADAL" clId="{F0859668-BB13-444E-9498-EBDDB3C7F861}" dt="2025-05-01T19:11:07.471" v="1336" actId="14100"/>
          <ac:spMkLst>
            <pc:docMk/>
            <pc:sldMk cId="1552440686" sldId="4436"/>
            <ac:spMk id="4" creationId="{377446BB-0992-0053-95CE-C8EC25995C8A}"/>
          </ac:spMkLst>
        </pc:spChg>
      </pc:sldChg>
      <pc:sldChg chg="addSp delSp modSp mod modCm">
        <pc:chgData name="Guarda Madriaza, Andres" userId="524f1fec-b848-4aa4-ad30-b433d0ef7cfd" providerId="ADAL" clId="{F0859668-BB13-444E-9498-EBDDB3C7F861}" dt="2025-05-01T18:15:36.145" v="662" actId="1035"/>
        <pc:sldMkLst>
          <pc:docMk/>
          <pc:sldMk cId="2402795078" sldId="4456"/>
        </pc:sldMkLst>
        <pc:spChg chg="mod">
          <ac:chgData name="Guarda Madriaza, Andres" userId="524f1fec-b848-4aa4-ad30-b433d0ef7cfd" providerId="ADAL" clId="{F0859668-BB13-444E-9498-EBDDB3C7F861}" dt="2025-05-01T17:21:53.300" v="515" actId="948"/>
          <ac:spMkLst>
            <pc:docMk/>
            <pc:sldMk cId="2402795078" sldId="4456"/>
            <ac:spMk id="41" creationId="{23AA03E7-73A1-8E58-D563-FB6EB5C2D097}"/>
          </ac:spMkLst>
        </pc:spChg>
        <pc:spChg chg="mod">
          <ac:chgData name="Guarda Madriaza, Andres" userId="524f1fec-b848-4aa4-ad30-b433d0ef7cfd" providerId="ADAL" clId="{F0859668-BB13-444E-9498-EBDDB3C7F861}" dt="2025-05-01T18:15:21.647" v="660" actId="20577"/>
          <ac:spMkLst>
            <pc:docMk/>
            <pc:sldMk cId="2402795078" sldId="4456"/>
            <ac:spMk id="44" creationId="{71D217CB-DB8D-9399-7DF9-8B36928AEFB0}"/>
          </ac:spMkLst>
        </pc:spChg>
        <pc:spChg chg="mod">
          <ac:chgData name="Guarda Madriaza, Andres" userId="524f1fec-b848-4aa4-ad30-b433d0ef7cfd" providerId="ADAL" clId="{F0859668-BB13-444E-9498-EBDDB3C7F861}" dt="2025-05-01T17:21:00.001" v="504" actId="1036"/>
          <ac:spMkLst>
            <pc:docMk/>
            <pc:sldMk cId="2402795078" sldId="4456"/>
            <ac:spMk id="45" creationId="{B07D07D6-3960-1D91-2299-782F6A39C381}"/>
          </ac:spMkLst>
        </pc:spChg>
        <pc:spChg chg="mod">
          <ac:chgData name="Guarda Madriaza, Andres" userId="524f1fec-b848-4aa4-ad30-b433d0ef7cfd" providerId="ADAL" clId="{F0859668-BB13-444E-9498-EBDDB3C7F861}" dt="2025-05-01T17:21:44.697" v="514" actId="948"/>
          <ac:spMkLst>
            <pc:docMk/>
            <pc:sldMk cId="2402795078" sldId="4456"/>
            <ac:spMk id="47" creationId="{91B3670C-8613-1F50-1A26-C6174C7ABA37}"/>
          </ac:spMkLst>
        </pc:spChg>
        <pc:grpChg chg="mod">
          <ac:chgData name="Guarda Madriaza, Andres" userId="524f1fec-b848-4aa4-ad30-b433d0ef7cfd" providerId="ADAL" clId="{F0859668-BB13-444E-9498-EBDDB3C7F861}" dt="2025-05-01T17:24:53.381" v="541" actId="1035"/>
          <ac:grpSpMkLst>
            <pc:docMk/>
            <pc:sldMk cId="2402795078" sldId="4456"/>
            <ac:grpSpMk id="40" creationId="{F1399A61-1004-2466-894B-E10BB558202E}"/>
          </ac:grpSpMkLst>
        </pc:grpChg>
        <pc:grpChg chg="mod">
          <ac:chgData name="Guarda Madriaza, Andres" userId="524f1fec-b848-4aa4-ad30-b433d0ef7cfd" providerId="ADAL" clId="{F0859668-BB13-444E-9498-EBDDB3C7F861}" dt="2025-05-01T18:15:36.145" v="662" actId="1035"/>
          <ac:grpSpMkLst>
            <pc:docMk/>
            <pc:sldMk cId="2402795078" sldId="4456"/>
            <ac:grpSpMk id="43" creationId="{DF4BFE7D-B5A0-86D6-9C23-12300FC8F0E6}"/>
          </ac:grpSpMkLst>
        </pc:grpChg>
        <pc:grpChg chg="mod">
          <ac:chgData name="Guarda Madriaza, Andres" userId="524f1fec-b848-4aa4-ad30-b433d0ef7cfd" providerId="ADAL" clId="{F0859668-BB13-444E-9498-EBDDB3C7F861}" dt="2025-05-01T17:24:59.800" v="554" actId="1036"/>
          <ac:grpSpMkLst>
            <pc:docMk/>
            <pc:sldMk cId="2402795078" sldId="4456"/>
            <ac:grpSpMk id="46" creationId="{B66740DC-AA28-CE78-5422-ACAFE585C4F8}"/>
          </ac:grpSpMkLst>
        </pc:grpChg>
        <pc:picChg chg="add mod modCrop">
          <ac:chgData name="Guarda Madriaza, Andres" userId="524f1fec-b848-4aa4-ad30-b433d0ef7cfd" providerId="ADAL" clId="{F0859668-BB13-444E-9498-EBDDB3C7F861}" dt="2025-05-01T02:02:25.271" v="217" actId="1037"/>
          <ac:picMkLst>
            <pc:docMk/>
            <pc:sldMk cId="2402795078" sldId="4456"/>
            <ac:picMk id="7" creationId="{CA5BF070-7BBC-F03C-1320-6E34BDEF796C}"/>
          </ac:picMkLst>
        </pc:picChg>
        <pc:extLst>
          <p:ext xmlns:p="http://schemas.openxmlformats.org/presentationml/2006/main" uri="{D6D511B9-2390-475A-947B-AFAB55BFBCF1}">
            <pc226:cmChg xmlns:pc226="http://schemas.microsoft.com/office/powerpoint/2022/06/main/command" chg="mod">
              <pc226:chgData name="Guarda Madriaza, Andres" userId="524f1fec-b848-4aa4-ad30-b433d0ef7cfd" providerId="ADAL" clId="{F0859668-BB13-444E-9498-EBDDB3C7F861}" dt="2025-05-01T18:15:21.647" v="660" actId="20577"/>
              <pc2:cmMkLst xmlns:pc2="http://schemas.microsoft.com/office/powerpoint/2019/9/main/command">
                <pc:docMk/>
                <pc:sldMk cId="2402795078" sldId="4456"/>
                <pc2:cmMk id="{A7E900ED-3961-4DE0-85C6-06D4C8A180EB}"/>
              </pc2:cmMkLst>
            </pc226:cmChg>
          </p:ext>
        </pc:extLst>
      </pc:sldChg>
      <pc:sldChg chg="addSp delSp modSp mod">
        <pc:chgData name="Guarda Madriaza, Andres" userId="524f1fec-b848-4aa4-ad30-b433d0ef7cfd" providerId="ADAL" clId="{F0859668-BB13-444E-9498-EBDDB3C7F861}" dt="2025-05-01T19:14:08.667" v="1349" actId="20577"/>
        <pc:sldMkLst>
          <pc:docMk/>
          <pc:sldMk cId="2309134026" sldId="4457"/>
        </pc:sldMkLst>
        <pc:spChg chg="add mod ord">
          <ac:chgData name="Guarda Madriaza, Andres" userId="524f1fec-b848-4aa4-ad30-b433d0ef7cfd" providerId="ADAL" clId="{F0859668-BB13-444E-9498-EBDDB3C7F861}" dt="2025-05-01T02:03:13.394" v="222"/>
          <ac:spMkLst>
            <pc:docMk/>
            <pc:sldMk cId="2309134026" sldId="4457"/>
            <ac:spMk id="11" creationId="{203218CC-7C14-F867-0434-A85A43DA60E8}"/>
          </ac:spMkLst>
        </pc:spChg>
        <pc:spChg chg="mod">
          <ac:chgData name="Guarda Madriaza, Andres" userId="524f1fec-b848-4aa4-ad30-b433d0ef7cfd" providerId="ADAL" clId="{F0859668-BB13-444E-9498-EBDDB3C7F861}" dt="2025-05-01T14:30:37.688" v="407" actId="113"/>
          <ac:spMkLst>
            <pc:docMk/>
            <pc:sldMk cId="2309134026" sldId="4457"/>
            <ac:spMk id="43" creationId="{87716F67-2A3B-4C4B-3713-11C442A4E3F6}"/>
          </ac:spMkLst>
        </pc:spChg>
        <pc:spChg chg="mod">
          <ac:chgData name="Guarda Madriaza, Andres" userId="524f1fec-b848-4aa4-ad30-b433d0ef7cfd" providerId="ADAL" clId="{F0859668-BB13-444E-9498-EBDDB3C7F861}" dt="2025-05-01T14:38:27.722" v="438" actId="207"/>
          <ac:spMkLst>
            <pc:docMk/>
            <pc:sldMk cId="2309134026" sldId="4457"/>
            <ac:spMk id="44" creationId="{97AF2B59-C86F-7439-3C44-F20432C0C11B}"/>
          </ac:spMkLst>
        </pc:spChg>
        <pc:spChg chg="mod">
          <ac:chgData name="Guarda Madriaza, Andres" userId="524f1fec-b848-4aa4-ad30-b433d0ef7cfd" providerId="ADAL" clId="{F0859668-BB13-444E-9498-EBDDB3C7F861}" dt="2025-05-01T14:38:32.272" v="439" actId="207"/>
          <ac:spMkLst>
            <pc:docMk/>
            <pc:sldMk cId="2309134026" sldId="4457"/>
            <ac:spMk id="46" creationId="{6CF2148B-1245-E063-CBD3-279477D30C4D}"/>
          </ac:spMkLst>
        </pc:spChg>
        <pc:spChg chg="mod">
          <ac:chgData name="Guarda Madriaza, Andres" userId="524f1fec-b848-4aa4-ad30-b433d0ef7cfd" providerId="ADAL" clId="{F0859668-BB13-444E-9498-EBDDB3C7F861}" dt="2025-05-01T19:14:08.667" v="1349" actId="20577"/>
          <ac:spMkLst>
            <pc:docMk/>
            <pc:sldMk cId="2309134026" sldId="4457"/>
            <ac:spMk id="47" creationId="{6FC4168F-0FE8-6BF4-D308-2C115049FF3D}"/>
          </ac:spMkLst>
        </pc:spChg>
        <pc:grpChg chg="mod ord">
          <ac:chgData name="Guarda Madriaza, Andres" userId="524f1fec-b848-4aa4-ad30-b433d0ef7cfd" providerId="ADAL" clId="{F0859668-BB13-444E-9498-EBDDB3C7F861}" dt="2025-05-01T02:03:13.443" v="230"/>
          <ac:grpSpMkLst>
            <pc:docMk/>
            <pc:sldMk cId="2309134026" sldId="4457"/>
            <ac:grpSpMk id="42" creationId="{51BB093B-162B-401F-3B15-6BD52B9BF887}"/>
          </ac:grpSpMkLst>
        </pc:grpChg>
        <pc:grpChg chg="mod ord">
          <ac:chgData name="Guarda Madriaza, Andres" userId="524f1fec-b848-4aa4-ad30-b433d0ef7cfd" providerId="ADAL" clId="{F0859668-BB13-444E-9498-EBDDB3C7F861}" dt="2025-05-01T14:30:45.958" v="423" actId="1035"/>
          <ac:grpSpMkLst>
            <pc:docMk/>
            <pc:sldMk cId="2309134026" sldId="4457"/>
            <ac:grpSpMk id="45" creationId="{B7D84BCA-921B-6634-F751-C10140BB5490}"/>
          </ac:grpSpMkLst>
        </pc:grpChg>
        <pc:graphicFrameChg chg="mod">
          <ac:chgData name="Guarda Madriaza, Andres" userId="524f1fec-b848-4aa4-ad30-b433d0ef7cfd" providerId="ADAL" clId="{F0859668-BB13-444E-9498-EBDDB3C7F861}" dt="2025-05-01T02:03:13.484" v="238"/>
          <ac:graphicFrameMkLst>
            <pc:docMk/>
            <pc:sldMk cId="2309134026" sldId="4457"/>
            <ac:graphicFrameMk id="7" creationId="{D6671726-3BCD-F3FA-F071-A4A61FC92580}"/>
          </ac:graphicFrameMkLst>
        </pc:graphicFrameChg>
        <pc:picChg chg="mod ord">
          <ac:chgData name="Guarda Madriaza, Andres" userId="524f1fec-b848-4aa4-ad30-b433d0ef7cfd" providerId="ADAL" clId="{F0859668-BB13-444E-9498-EBDDB3C7F861}" dt="2025-05-01T02:03:13.410" v="224"/>
          <ac:picMkLst>
            <pc:docMk/>
            <pc:sldMk cId="2309134026" sldId="4457"/>
            <ac:picMk id="6" creationId="{481CE02F-6539-5534-C11B-32BD309B657D}"/>
          </ac:picMkLst>
        </pc:picChg>
        <pc:picChg chg="add mod ord modCrop">
          <ac:chgData name="Guarda Madriaza, Andres" userId="524f1fec-b848-4aa4-ad30-b433d0ef7cfd" providerId="ADAL" clId="{F0859668-BB13-444E-9498-EBDDB3C7F861}" dt="2025-05-01T02:03:13.471" v="236"/>
          <ac:picMkLst>
            <pc:docMk/>
            <pc:sldMk cId="2309134026" sldId="4457"/>
            <ac:picMk id="9" creationId="{3116BEFE-B2C4-28A8-4FFC-CAC9DA66F144}"/>
          </ac:picMkLst>
        </pc:picChg>
        <pc:picChg chg="mod ord">
          <ac:chgData name="Guarda Madriaza, Andres" userId="524f1fec-b848-4aa4-ad30-b433d0ef7cfd" providerId="ADAL" clId="{F0859668-BB13-444E-9498-EBDDB3C7F861}" dt="2025-05-01T02:03:13.459" v="234"/>
          <ac:picMkLst>
            <pc:docMk/>
            <pc:sldMk cId="2309134026" sldId="4457"/>
            <ac:picMk id="24" creationId="{6F7D000E-FB52-C236-9D3B-1FB9AFBF0340}"/>
          </ac:picMkLst>
        </pc:picChg>
      </pc:sldChg>
      <pc:sldChg chg="modSp mod">
        <pc:chgData name="Guarda Madriaza, Andres" userId="524f1fec-b848-4aa4-ad30-b433d0ef7cfd" providerId="ADAL" clId="{F0859668-BB13-444E-9498-EBDDB3C7F861}" dt="2025-05-01T20:03:08.394" v="1415" actId="20577"/>
        <pc:sldMkLst>
          <pc:docMk/>
          <pc:sldMk cId="1629867990" sldId="4461"/>
        </pc:sldMkLst>
        <pc:spChg chg="mod">
          <ac:chgData name="Guarda Madriaza, Andres" userId="524f1fec-b848-4aa4-ad30-b433d0ef7cfd" providerId="ADAL" clId="{F0859668-BB13-444E-9498-EBDDB3C7F861}" dt="2025-05-01T19:39:16.357" v="1370" actId="20577"/>
          <ac:spMkLst>
            <pc:docMk/>
            <pc:sldMk cId="1629867990" sldId="4461"/>
            <ac:spMk id="82" creationId="{F04E3F0C-5E10-DEDA-39F0-4A76AD9F4FF2}"/>
          </ac:spMkLst>
        </pc:spChg>
        <pc:spChg chg="mod">
          <ac:chgData name="Guarda Madriaza, Andres" userId="524f1fec-b848-4aa4-ad30-b433d0ef7cfd" providerId="ADAL" clId="{F0859668-BB13-444E-9498-EBDDB3C7F861}" dt="2025-05-01T20:03:08.394" v="1415" actId="20577"/>
          <ac:spMkLst>
            <pc:docMk/>
            <pc:sldMk cId="1629867990" sldId="4461"/>
            <ac:spMk id="85" creationId="{C2043354-14EB-A4B1-0A7D-BDBB223A7740}"/>
          </ac:spMkLst>
        </pc:spChg>
      </pc:sldChg>
      <pc:sldChg chg="addSp delSp modSp mod ord">
        <pc:chgData name="Guarda Madriaza, Andres" userId="524f1fec-b848-4aa4-ad30-b433d0ef7cfd" providerId="ADAL" clId="{F0859668-BB13-444E-9498-EBDDB3C7F861}" dt="2025-05-02T15:53:20.668" v="5360"/>
        <pc:sldMkLst>
          <pc:docMk/>
          <pc:sldMk cId="2798752304" sldId="4463"/>
        </pc:sldMkLst>
        <pc:spChg chg="add mod ord">
          <ac:chgData name="Guarda Madriaza, Andres" userId="524f1fec-b848-4aa4-ad30-b433d0ef7cfd" providerId="ADAL" clId="{F0859668-BB13-444E-9498-EBDDB3C7F861}" dt="2025-05-02T02:13:37.991" v="1747"/>
          <ac:spMkLst>
            <pc:docMk/>
            <pc:sldMk cId="2798752304" sldId="4463"/>
            <ac:spMk id="2" creationId="{9D919E6C-BE55-886B-FB97-E9448AFFAD8E}"/>
          </ac:spMkLst>
        </pc:spChg>
        <pc:spChg chg="mod ord">
          <ac:chgData name="Guarda Madriaza, Andres" userId="524f1fec-b848-4aa4-ad30-b433d0ef7cfd" providerId="ADAL" clId="{F0859668-BB13-444E-9498-EBDDB3C7F861}" dt="2025-05-02T02:13:38.007" v="1761"/>
          <ac:spMkLst>
            <pc:docMk/>
            <pc:sldMk cId="2798752304" sldId="4463"/>
            <ac:spMk id="3" creationId="{AF704D12-DF26-2A97-D0B4-0B30AD478DD7}"/>
          </ac:spMkLst>
        </pc:spChg>
        <pc:spChg chg="mod ord">
          <ac:chgData name="Guarda Madriaza, Andres" userId="524f1fec-b848-4aa4-ad30-b433d0ef7cfd" providerId="ADAL" clId="{F0859668-BB13-444E-9498-EBDDB3C7F861}" dt="2025-05-02T02:20:27.098" v="2010" actId="20577"/>
          <ac:spMkLst>
            <pc:docMk/>
            <pc:sldMk cId="2798752304" sldId="4463"/>
            <ac:spMk id="6" creationId="{DC20AEAF-2EBF-150B-6775-B341008E86B5}"/>
          </ac:spMkLst>
        </pc:spChg>
        <pc:spChg chg="mod">
          <ac:chgData name="Guarda Madriaza, Andres" userId="524f1fec-b848-4aa4-ad30-b433d0ef7cfd" providerId="ADAL" clId="{F0859668-BB13-444E-9498-EBDDB3C7F861}" dt="2025-05-02T02:14:13.619" v="1795" actId="1038"/>
          <ac:spMkLst>
            <pc:docMk/>
            <pc:sldMk cId="2798752304" sldId="4463"/>
            <ac:spMk id="12" creationId="{CC2F6666-1545-F07C-0B1B-4AED6A6A86C1}"/>
          </ac:spMkLst>
        </pc:spChg>
        <pc:spChg chg="mod">
          <ac:chgData name="Guarda Madriaza, Andres" userId="524f1fec-b848-4aa4-ad30-b433d0ef7cfd" providerId="ADAL" clId="{F0859668-BB13-444E-9498-EBDDB3C7F861}" dt="2025-05-02T02:13:37.991" v="1750"/>
          <ac:spMkLst>
            <pc:docMk/>
            <pc:sldMk cId="2798752304" sldId="4463"/>
            <ac:spMk id="14" creationId="{18D47C41-52C2-31A3-29D5-822D74B62AF2}"/>
          </ac:spMkLst>
        </pc:spChg>
        <pc:spChg chg="mod">
          <ac:chgData name="Guarda Madriaza, Andres" userId="524f1fec-b848-4aa4-ad30-b433d0ef7cfd" providerId="ADAL" clId="{F0859668-BB13-444E-9498-EBDDB3C7F861}" dt="2025-05-02T02:13:37.991" v="1751"/>
          <ac:spMkLst>
            <pc:docMk/>
            <pc:sldMk cId="2798752304" sldId="4463"/>
            <ac:spMk id="15" creationId="{05ED091A-F71A-859B-F8CE-2063216E4FCC}"/>
          </ac:spMkLst>
        </pc:spChg>
        <pc:spChg chg="mod">
          <ac:chgData name="Guarda Madriaza, Andres" userId="524f1fec-b848-4aa4-ad30-b433d0ef7cfd" providerId="ADAL" clId="{F0859668-BB13-444E-9498-EBDDB3C7F861}" dt="2025-05-02T02:13:37.991" v="1752"/>
          <ac:spMkLst>
            <pc:docMk/>
            <pc:sldMk cId="2798752304" sldId="4463"/>
            <ac:spMk id="16" creationId="{E5A450CC-13FC-687E-730D-74DE6A286DDC}"/>
          </ac:spMkLst>
        </pc:spChg>
        <pc:spChg chg="mod">
          <ac:chgData name="Guarda Madriaza, Andres" userId="524f1fec-b848-4aa4-ad30-b433d0ef7cfd" providerId="ADAL" clId="{F0859668-BB13-444E-9498-EBDDB3C7F861}" dt="2025-05-02T02:13:37.991" v="1756"/>
          <ac:spMkLst>
            <pc:docMk/>
            <pc:sldMk cId="2798752304" sldId="4463"/>
            <ac:spMk id="18" creationId="{6549801B-CCA9-B0CC-6A92-EF9635CF0163}"/>
          </ac:spMkLst>
        </pc:spChg>
        <pc:spChg chg="mod">
          <ac:chgData name="Guarda Madriaza, Andres" userId="524f1fec-b848-4aa4-ad30-b433d0ef7cfd" providerId="ADAL" clId="{F0859668-BB13-444E-9498-EBDDB3C7F861}" dt="2025-05-02T02:13:37.991" v="1757"/>
          <ac:spMkLst>
            <pc:docMk/>
            <pc:sldMk cId="2798752304" sldId="4463"/>
            <ac:spMk id="20" creationId="{4F89E58D-5E95-C12F-787F-58562E13CC27}"/>
          </ac:spMkLst>
        </pc:spChg>
        <pc:spChg chg="mod ord">
          <ac:chgData name="Guarda Madriaza, Andres" userId="524f1fec-b848-4aa4-ad30-b433d0ef7cfd" providerId="ADAL" clId="{F0859668-BB13-444E-9498-EBDDB3C7F861}" dt="2025-05-02T02:21:19.012" v="2019" actId="20577"/>
          <ac:spMkLst>
            <pc:docMk/>
            <pc:sldMk cId="2798752304" sldId="4463"/>
            <ac:spMk id="22" creationId="{15B5A5A8-2943-ECDD-5CB5-34269E7D5632}"/>
          </ac:spMkLst>
        </pc:spChg>
        <pc:graphicFrameChg chg="mod">
          <ac:chgData name="Guarda Madriaza, Andres" userId="524f1fec-b848-4aa4-ad30-b433d0ef7cfd" providerId="ADAL" clId="{F0859668-BB13-444E-9498-EBDDB3C7F861}" dt="2025-05-02T02:13:38.007" v="1773"/>
          <ac:graphicFrameMkLst>
            <pc:docMk/>
            <pc:sldMk cId="2798752304" sldId="4463"/>
            <ac:graphicFrameMk id="7" creationId="{D6671726-3BCD-F3FA-F071-A4A61FC92580}"/>
          </ac:graphicFrameMkLst>
        </pc:graphicFrameChg>
        <pc:picChg chg="mod ord">
          <ac:chgData name="Guarda Madriaza, Andres" userId="524f1fec-b848-4aa4-ad30-b433d0ef7cfd" providerId="ADAL" clId="{F0859668-BB13-444E-9498-EBDDB3C7F861}" dt="2025-05-02T02:14:23.820" v="1796" actId="14100"/>
          <ac:picMkLst>
            <pc:docMk/>
            <pc:sldMk cId="2798752304" sldId="4463"/>
            <ac:picMk id="4" creationId="{2DCF7DF3-403E-5F20-A789-7FDACB68A4FD}"/>
          </ac:picMkLst>
        </pc:picChg>
        <pc:picChg chg="add mod ord">
          <ac:chgData name="Guarda Madriaza, Andres" userId="524f1fec-b848-4aa4-ad30-b433d0ef7cfd" providerId="ADAL" clId="{F0859668-BB13-444E-9498-EBDDB3C7F861}" dt="2025-05-02T02:13:57.242" v="1791" actId="208"/>
          <ac:picMkLst>
            <pc:docMk/>
            <pc:sldMk cId="2798752304" sldId="4463"/>
            <ac:picMk id="8" creationId="{32F4F13A-D009-E310-F5AA-53C3A1BD30F8}"/>
          </ac:picMkLst>
        </pc:picChg>
        <pc:picChg chg="add mod ord">
          <ac:chgData name="Guarda Madriaza, Andres" userId="524f1fec-b848-4aa4-ad30-b433d0ef7cfd" providerId="ADAL" clId="{F0859668-BB13-444E-9498-EBDDB3C7F861}" dt="2025-05-02T02:13:57.242" v="1791" actId="208"/>
          <ac:picMkLst>
            <pc:docMk/>
            <pc:sldMk cId="2798752304" sldId="4463"/>
            <ac:picMk id="9" creationId="{AC128AAE-3260-4DF5-7EDC-D4639981A6D8}"/>
          </ac:picMkLst>
        </pc:picChg>
        <pc:picChg chg="add mod ord">
          <ac:chgData name="Guarda Madriaza, Andres" userId="524f1fec-b848-4aa4-ad30-b433d0ef7cfd" providerId="ADAL" clId="{F0859668-BB13-444E-9498-EBDDB3C7F861}" dt="2025-05-02T02:13:57.242" v="1791" actId="208"/>
          <ac:picMkLst>
            <pc:docMk/>
            <pc:sldMk cId="2798752304" sldId="4463"/>
            <ac:picMk id="25" creationId="{B73122AF-9F3A-2422-B139-FD84A45CF9A7}"/>
          </ac:picMkLst>
        </pc:picChg>
        <pc:picChg chg="add mod ord">
          <ac:chgData name="Guarda Madriaza, Andres" userId="524f1fec-b848-4aa4-ad30-b433d0ef7cfd" providerId="ADAL" clId="{F0859668-BB13-444E-9498-EBDDB3C7F861}" dt="2025-05-02T02:13:57.242" v="1791" actId="208"/>
          <ac:picMkLst>
            <pc:docMk/>
            <pc:sldMk cId="2798752304" sldId="4463"/>
            <ac:picMk id="26" creationId="{562A5052-87B4-EE0A-3022-B45EF3D386AB}"/>
          </ac:picMkLst>
        </pc:picChg>
      </pc:sldChg>
      <pc:sldChg chg="addSp delSp modSp mod ord">
        <pc:chgData name="Guarda Madriaza, Andres" userId="524f1fec-b848-4aa4-ad30-b433d0ef7cfd" providerId="ADAL" clId="{F0859668-BB13-444E-9498-EBDDB3C7F861}" dt="2025-05-02T15:53:20.668" v="5360"/>
        <pc:sldMkLst>
          <pc:docMk/>
          <pc:sldMk cId="1760513304" sldId="4466"/>
        </pc:sldMkLst>
        <pc:spChg chg="mod ord">
          <ac:chgData name="Guarda Madriaza, Andres" userId="524f1fec-b848-4aa4-ad30-b433d0ef7cfd" providerId="ADAL" clId="{F0859668-BB13-444E-9498-EBDDB3C7F861}" dt="2025-05-02T04:24:10.135" v="4887"/>
          <ac:spMkLst>
            <pc:docMk/>
            <pc:sldMk cId="1760513304" sldId="4466"/>
            <ac:spMk id="3" creationId="{B08A3FF0-4983-27BB-54EA-18657BFABA81}"/>
          </ac:spMkLst>
        </pc:spChg>
        <pc:spChg chg="mod ord">
          <ac:chgData name="Guarda Madriaza, Andres" userId="524f1fec-b848-4aa4-ad30-b433d0ef7cfd" providerId="ADAL" clId="{F0859668-BB13-444E-9498-EBDDB3C7F861}" dt="2025-05-02T04:24:10.198" v="4962"/>
          <ac:spMkLst>
            <pc:docMk/>
            <pc:sldMk cId="1760513304" sldId="4466"/>
            <ac:spMk id="4" creationId="{6A7F2D4C-73BB-7B71-EB56-C0970BC21EF1}"/>
          </ac:spMkLst>
        </pc:spChg>
        <pc:spChg chg="mod">
          <ac:chgData name="Guarda Madriaza, Andres" userId="524f1fec-b848-4aa4-ad30-b433d0ef7cfd" providerId="ADAL" clId="{F0859668-BB13-444E-9498-EBDDB3C7F861}" dt="2025-05-02T04:24:10.135" v="4890"/>
          <ac:spMkLst>
            <pc:docMk/>
            <pc:sldMk cId="1760513304" sldId="4466"/>
            <ac:spMk id="5" creationId="{5B96047E-83F4-9D3B-AF5E-107A0AB0935C}"/>
          </ac:spMkLst>
        </pc:spChg>
        <pc:spChg chg="mod">
          <ac:chgData name="Guarda Madriaza, Andres" userId="524f1fec-b848-4aa4-ad30-b433d0ef7cfd" providerId="ADAL" clId="{F0859668-BB13-444E-9498-EBDDB3C7F861}" dt="2025-05-02T04:24:10.135" v="4891"/>
          <ac:spMkLst>
            <pc:docMk/>
            <pc:sldMk cId="1760513304" sldId="4466"/>
            <ac:spMk id="6" creationId="{067BCAAA-FCCE-2A54-FE5A-56B7AD12B151}"/>
          </ac:spMkLst>
        </pc:spChg>
        <pc:spChg chg="mod">
          <ac:chgData name="Guarda Madriaza, Andres" userId="524f1fec-b848-4aa4-ad30-b433d0ef7cfd" providerId="ADAL" clId="{F0859668-BB13-444E-9498-EBDDB3C7F861}" dt="2025-05-02T04:24:10.135" v="4892"/>
          <ac:spMkLst>
            <pc:docMk/>
            <pc:sldMk cId="1760513304" sldId="4466"/>
            <ac:spMk id="11" creationId="{323E67C3-4B9A-021F-884F-DA0A964DC87E}"/>
          </ac:spMkLst>
        </pc:spChg>
        <pc:spChg chg="mod">
          <ac:chgData name="Guarda Madriaza, Andres" userId="524f1fec-b848-4aa4-ad30-b433d0ef7cfd" providerId="ADAL" clId="{F0859668-BB13-444E-9498-EBDDB3C7F861}" dt="2025-05-02T04:24:10.135" v="4893"/>
          <ac:spMkLst>
            <pc:docMk/>
            <pc:sldMk cId="1760513304" sldId="4466"/>
            <ac:spMk id="12" creationId="{3629E269-B126-BAA8-B750-A51E3C746EBB}"/>
          </ac:spMkLst>
        </pc:spChg>
        <pc:spChg chg="mod">
          <ac:chgData name="Guarda Madriaza, Andres" userId="524f1fec-b848-4aa4-ad30-b433d0ef7cfd" providerId="ADAL" clId="{F0859668-BB13-444E-9498-EBDDB3C7F861}" dt="2025-05-02T04:24:10.135" v="4894"/>
          <ac:spMkLst>
            <pc:docMk/>
            <pc:sldMk cId="1760513304" sldId="4466"/>
            <ac:spMk id="13" creationId="{BD5E8216-3BD3-5372-5EF3-93871F125BEB}"/>
          </ac:spMkLst>
        </pc:spChg>
        <pc:spChg chg="mod">
          <ac:chgData name="Guarda Madriaza, Andres" userId="524f1fec-b848-4aa4-ad30-b433d0ef7cfd" providerId="ADAL" clId="{F0859668-BB13-444E-9498-EBDDB3C7F861}" dt="2025-05-02T04:24:10.135" v="4895"/>
          <ac:spMkLst>
            <pc:docMk/>
            <pc:sldMk cId="1760513304" sldId="4466"/>
            <ac:spMk id="14" creationId="{88AC694A-8EFE-9FC6-1C22-72841EB70936}"/>
          </ac:spMkLst>
        </pc:spChg>
        <pc:spChg chg="mod">
          <ac:chgData name="Guarda Madriaza, Andres" userId="524f1fec-b848-4aa4-ad30-b433d0ef7cfd" providerId="ADAL" clId="{F0859668-BB13-444E-9498-EBDDB3C7F861}" dt="2025-05-02T04:24:10.135" v="4896"/>
          <ac:spMkLst>
            <pc:docMk/>
            <pc:sldMk cId="1760513304" sldId="4466"/>
            <ac:spMk id="15" creationId="{5DD406B0-0480-9895-9CFA-021624003F63}"/>
          </ac:spMkLst>
        </pc:spChg>
        <pc:spChg chg="mod">
          <ac:chgData name="Guarda Madriaza, Andres" userId="524f1fec-b848-4aa4-ad30-b433d0ef7cfd" providerId="ADAL" clId="{F0859668-BB13-444E-9498-EBDDB3C7F861}" dt="2025-05-02T04:24:10.135" v="4897"/>
          <ac:spMkLst>
            <pc:docMk/>
            <pc:sldMk cId="1760513304" sldId="4466"/>
            <ac:spMk id="16" creationId="{24721483-781E-D48C-46EA-1508F36BB096}"/>
          </ac:spMkLst>
        </pc:spChg>
        <pc:spChg chg="mod ord">
          <ac:chgData name="Guarda Madriaza, Andres" userId="524f1fec-b848-4aa4-ad30-b433d0ef7cfd" providerId="ADAL" clId="{F0859668-BB13-444E-9498-EBDDB3C7F861}" dt="2025-05-02T04:24:10.135" v="4899"/>
          <ac:spMkLst>
            <pc:docMk/>
            <pc:sldMk cId="1760513304" sldId="4466"/>
            <ac:spMk id="17" creationId="{0A6F95A0-B8EA-543D-61B8-F4B8EA24B48C}"/>
          </ac:spMkLst>
        </pc:spChg>
        <pc:spChg chg="mod ord">
          <ac:chgData name="Guarda Madriaza, Andres" userId="524f1fec-b848-4aa4-ad30-b433d0ef7cfd" providerId="ADAL" clId="{F0859668-BB13-444E-9498-EBDDB3C7F861}" dt="2025-05-02T04:24:10.135" v="4901"/>
          <ac:spMkLst>
            <pc:docMk/>
            <pc:sldMk cId="1760513304" sldId="4466"/>
            <ac:spMk id="18" creationId="{43AF2ACE-FA92-38BD-2F92-CAE2090B9830}"/>
          </ac:spMkLst>
        </pc:spChg>
        <pc:spChg chg="mod">
          <ac:chgData name="Guarda Madriaza, Andres" userId="524f1fec-b848-4aa4-ad30-b433d0ef7cfd" providerId="ADAL" clId="{F0859668-BB13-444E-9498-EBDDB3C7F861}" dt="2025-05-02T04:24:10.135" v="4902"/>
          <ac:spMkLst>
            <pc:docMk/>
            <pc:sldMk cId="1760513304" sldId="4466"/>
            <ac:spMk id="19" creationId="{EAFB09D3-300F-A0CE-4515-4D06409C4023}"/>
          </ac:spMkLst>
        </pc:spChg>
        <pc:spChg chg="mod">
          <ac:chgData name="Guarda Madriaza, Andres" userId="524f1fec-b848-4aa4-ad30-b433d0ef7cfd" providerId="ADAL" clId="{F0859668-BB13-444E-9498-EBDDB3C7F861}" dt="2025-05-02T04:24:10.135" v="4903"/>
          <ac:spMkLst>
            <pc:docMk/>
            <pc:sldMk cId="1760513304" sldId="4466"/>
            <ac:spMk id="20" creationId="{63D07D72-F8A9-C138-7C59-A8F46A9F19DF}"/>
          </ac:spMkLst>
        </pc:spChg>
        <pc:spChg chg="mod ord">
          <ac:chgData name="Guarda Madriaza, Andres" userId="524f1fec-b848-4aa4-ad30-b433d0ef7cfd" providerId="ADAL" clId="{F0859668-BB13-444E-9498-EBDDB3C7F861}" dt="2025-05-02T04:24:10.146" v="4907"/>
          <ac:spMkLst>
            <pc:docMk/>
            <pc:sldMk cId="1760513304" sldId="4466"/>
            <ac:spMk id="22" creationId="{A36F0498-BC85-D29E-1325-EA48FA70FB6A}"/>
          </ac:spMkLst>
        </pc:spChg>
        <pc:spChg chg="mod">
          <ac:chgData name="Guarda Madriaza, Andres" userId="524f1fec-b848-4aa4-ad30-b433d0ef7cfd" providerId="ADAL" clId="{F0859668-BB13-444E-9498-EBDDB3C7F861}" dt="2025-05-02T04:24:10.146" v="4908"/>
          <ac:spMkLst>
            <pc:docMk/>
            <pc:sldMk cId="1760513304" sldId="4466"/>
            <ac:spMk id="23" creationId="{E115D2AE-C188-8965-1106-4F0A58322D49}"/>
          </ac:spMkLst>
        </pc:spChg>
        <pc:spChg chg="mod ord">
          <ac:chgData name="Guarda Madriaza, Andres" userId="524f1fec-b848-4aa4-ad30-b433d0ef7cfd" providerId="ADAL" clId="{F0859668-BB13-444E-9498-EBDDB3C7F861}" dt="2025-05-02T04:24:10.151" v="4910"/>
          <ac:spMkLst>
            <pc:docMk/>
            <pc:sldMk cId="1760513304" sldId="4466"/>
            <ac:spMk id="24" creationId="{AE78BB7C-B211-4C8E-D391-E9A90833CB89}"/>
          </ac:spMkLst>
        </pc:spChg>
        <pc:spChg chg="mod ord">
          <ac:chgData name="Guarda Madriaza, Andres" userId="524f1fec-b848-4aa4-ad30-b433d0ef7cfd" providerId="ADAL" clId="{F0859668-BB13-444E-9498-EBDDB3C7F861}" dt="2025-05-02T04:53:15.389" v="5348" actId="1037"/>
          <ac:spMkLst>
            <pc:docMk/>
            <pc:sldMk cId="1760513304" sldId="4466"/>
            <ac:spMk id="29" creationId="{57A96C27-4A39-0B14-E7D6-B462E03686CF}"/>
          </ac:spMkLst>
        </pc:spChg>
        <pc:spChg chg="mod ord">
          <ac:chgData name="Guarda Madriaza, Andres" userId="524f1fec-b848-4aa4-ad30-b433d0ef7cfd" providerId="ADAL" clId="{F0859668-BB13-444E-9498-EBDDB3C7F861}" dt="2025-05-02T04:24:10.151" v="4922"/>
          <ac:spMkLst>
            <pc:docMk/>
            <pc:sldMk cId="1760513304" sldId="4466"/>
            <ac:spMk id="30" creationId="{BD05B8E3-5CAB-F8C7-053E-3A568A413E9C}"/>
          </ac:spMkLst>
        </pc:spChg>
        <pc:spChg chg="mod ord">
          <ac:chgData name="Guarda Madriaza, Andres" userId="524f1fec-b848-4aa4-ad30-b433d0ef7cfd" providerId="ADAL" clId="{F0859668-BB13-444E-9498-EBDDB3C7F861}" dt="2025-05-02T04:53:02.575" v="5337" actId="1038"/>
          <ac:spMkLst>
            <pc:docMk/>
            <pc:sldMk cId="1760513304" sldId="4466"/>
            <ac:spMk id="31" creationId="{7F63668B-7CC3-9744-BE36-109DF91AD4EA}"/>
          </ac:spMkLst>
        </pc:spChg>
        <pc:spChg chg="add mod ord">
          <ac:chgData name="Guarda Madriaza, Andres" userId="524f1fec-b848-4aa4-ad30-b433d0ef7cfd" providerId="ADAL" clId="{F0859668-BB13-444E-9498-EBDDB3C7F861}" dt="2025-05-02T04:24:10.120" v="4879"/>
          <ac:spMkLst>
            <pc:docMk/>
            <pc:sldMk cId="1760513304" sldId="4466"/>
            <ac:spMk id="33" creationId="{592F303F-291C-CFC1-63C5-68DFD1197046}"/>
          </ac:spMkLst>
        </pc:spChg>
        <pc:spChg chg="mod ord">
          <ac:chgData name="Guarda Madriaza, Andres" userId="524f1fec-b848-4aa4-ad30-b433d0ef7cfd" providerId="ADAL" clId="{F0859668-BB13-444E-9498-EBDDB3C7F861}" dt="2025-05-02T04:24:10.167" v="4928"/>
          <ac:spMkLst>
            <pc:docMk/>
            <pc:sldMk cId="1760513304" sldId="4466"/>
            <ac:spMk id="37" creationId="{7C65B210-8547-028D-D2BC-823CC4BEDDF7}"/>
          </ac:spMkLst>
        </pc:spChg>
        <pc:spChg chg="mod ord">
          <ac:chgData name="Guarda Madriaza, Andres" userId="524f1fec-b848-4aa4-ad30-b433d0ef7cfd" providerId="ADAL" clId="{F0859668-BB13-444E-9498-EBDDB3C7F861}" dt="2025-05-02T04:24:10.167" v="4930"/>
          <ac:spMkLst>
            <pc:docMk/>
            <pc:sldMk cId="1760513304" sldId="4466"/>
            <ac:spMk id="38" creationId="{6CBA2249-020F-54D5-FB27-C89C12EA7F5A}"/>
          </ac:spMkLst>
        </pc:spChg>
        <pc:spChg chg="mod ord">
          <ac:chgData name="Guarda Madriaza, Andres" userId="524f1fec-b848-4aa4-ad30-b433d0ef7cfd" providerId="ADAL" clId="{F0859668-BB13-444E-9498-EBDDB3C7F861}" dt="2025-05-02T04:24:10.167" v="4932"/>
          <ac:spMkLst>
            <pc:docMk/>
            <pc:sldMk cId="1760513304" sldId="4466"/>
            <ac:spMk id="39" creationId="{D9DB4E9F-D54A-D737-7929-0FCBA6BE8CEB}"/>
          </ac:spMkLst>
        </pc:spChg>
        <pc:spChg chg="mod ord">
          <ac:chgData name="Guarda Madriaza, Andres" userId="524f1fec-b848-4aa4-ad30-b433d0ef7cfd" providerId="ADAL" clId="{F0859668-BB13-444E-9498-EBDDB3C7F861}" dt="2025-05-02T04:24:10.167" v="4934"/>
          <ac:spMkLst>
            <pc:docMk/>
            <pc:sldMk cId="1760513304" sldId="4466"/>
            <ac:spMk id="40" creationId="{D5D6E826-E0D3-8418-D2D1-609C11BC78EB}"/>
          </ac:spMkLst>
        </pc:spChg>
        <pc:spChg chg="mod ord">
          <ac:chgData name="Guarda Madriaza, Andres" userId="524f1fec-b848-4aa4-ad30-b433d0ef7cfd" providerId="ADAL" clId="{F0859668-BB13-444E-9498-EBDDB3C7F861}" dt="2025-05-02T04:24:10.167" v="4936"/>
          <ac:spMkLst>
            <pc:docMk/>
            <pc:sldMk cId="1760513304" sldId="4466"/>
            <ac:spMk id="41" creationId="{F6E4B8B5-A645-9A31-FCFB-E59029D28D4C}"/>
          </ac:spMkLst>
        </pc:spChg>
        <pc:spChg chg="mod ord">
          <ac:chgData name="Guarda Madriaza, Andres" userId="524f1fec-b848-4aa4-ad30-b433d0ef7cfd" providerId="ADAL" clId="{F0859668-BB13-444E-9498-EBDDB3C7F861}" dt="2025-05-02T04:24:10.167" v="4938"/>
          <ac:spMkLst>
            <pc:docMk/>
            <pc:sldMk cId="1760513304" sldId="4466"/>
            <ac:spMk id="42" creationId="{190CD982-3032-FA49-360B-1BD57D45BD2E}"/>
          </ac:spMkLst>
        </pc:spChg>
        <pc:spChg chg="mod ord">
          <ac:chgData name="Guarda Madriaza, Andres" userId="524f1fec-b848-4aa4-ad30-b433d0ef7cfd" providerId="ADAL" clId="{F0859668-BB13-444E-9498-EBDDB3C7F861}" dt="2025-05-02T04:24:10.167" v="4940"/>
          <ac:spMkLst>
            <pc:docMk/>
            <pc:sldMk cId="1760513304" sldId="4466"/>
            <ac:spMk id="43" creationId="{C3933C73-95CB-1311-7A7E-A0926049745A}"/>
          </ac:spMkLst>
        </pc:spChg>
        <pc:spChg chg="mod ord">
          <ac:chgData name="Guarda Madriaza, Andres" userId="524f1fec-b848-4aa4-ad30-b433d0ef7cfd" providerId="ADAL" clId="{F0859668-BB13-444E-9498-EBDDB3C7F861}" dt="2025-05-02T04:24:10.183" v="4942"/>
          <ac:spMkLst>
            <pc:docMk/>
            <pc:sldMk cId="1760513304" sldId="4466"/>
            <ac:spMk id="44" creationId="{6BDB48A2-1F73-941B-0E25-5658015278EF}"/>
          </ac:spMkLst>
        </pc:spChg>
        <pc:spChg chg="mod">
          <ac:chgData name="Guarda Madriaza, Andres" userId="524f1fec-b848-4aa4-ad30-b433d0ef7cfd" providerId="ADAL" clId="{F0859668-BB13-444E-9498-EBDDB3C7F861}" dt="2025-05-02T04:24:10.183" v="4943"/>
          <ac:spMkLst>
            <pc:docMk/>
            <pc:sldMk cId="1760513304" sldId="4466"/>
            <ac:spMk id="45" creationId="{8C65319F-1504-A4AA-9DF6-83063ED8FA24}"/>
          </ac:spMkLst>
        </pc:spChg>
        <pc:spChg chg="mod">
          <ac:chgData name="Guarda Madriaza, Andres" userId="524f1fec-b848-4aa4-ad30-b433d0ef7cfd" providerId="ADAL" clId="{F0859668-BB13-444E-9498-EBDDB3C7F861}" dt="2025-05-02T04:24:10.183" v="4946"/>
          <ac:spMkLst>
            <pc:docMk/>
            <pc:sldMk cId="1760513304" sldId="4466"/>
            <ac:spMk id="47" creationId="{190E0BD8-E456-B19D-EA46-561B0AE56E50}"/>
          </ac:spMkLst>
        </pc:spChg>
        <pc:spChg chg="mod">
          <ac:chgData name="Guarda Madriaza, Andres" userId="524f1fec-b848-4aa4-ad30-b433d0ef7cfd" providerId="ADAL" clId="{F0859668-BB13-444E-9498-EBDDB3C7F861}" dt="2025-05-02T04:24:10.183" v="4951"/>
          <ac:spMkLst>
            <pc:docMk/>
            <pc:sldMk cId="1760513304" sldId="4466"/>
            <ac:spMk id="50" creationId="{6FAFC467-3DBE-39D3-2A05-82BC4B9C60EA}"/>
          </ac:spMkLst>
        </pc:spChg>
        <pc:spChg chg="mod">
          <ac:chgData name="Guarda Madriaza, Andres" userId="524f1fec-b848-4aa4-ad30-b433d0ef7cfd" providerId="ADAL" clId="{F0859668-BB13-444E-9498-EBDDB3C7F861}" dt="2025-05-02T04:24:10.183" v="4952"/>
          <ac:spMkLst>
            <pc:docMk/>
            <pc:sldMk cId="1760513304" sldId="4466"/>
            <ac:spMk id="51" creationId="{EA2CE2BD-B485-5775-FE95-A8F523DAA5E6}"/>
          </ac:spMkLst>
        </pc:spChg>
        <pc:spChg chg="mod">
          <ac:chgData name="Guarda Madriaza, Andres" userId="524f1fec-b848-4aa4-ad30-b433d0ef7cfd" providerId="ADAL" clId="{F0859668-BB13-444E-9498-EBDDB3C7F861}" dt="2025-05-02T04:24:10.183" v="4953"/>
          <ac:spMkLst>
            <pc:docMk/>
            <pc:sldMk cId="1760513304" sldId="4466"/>
            <ac:spMk id="52" creationId="{E8C236AA-360D-3578-8A8C-23EA749E988E}"/>
          </ac:spMkLst>
        </pc:spChg>
        <pc:spChg chg="mod">
          <ac:chgData name="Guarda Madriaza, Andres" userId="524f1fec-b848-4aa4-ad30-b433d0ef7cfd" providerId="ADAL" clId="{F0859668-BB13-444E-9498-EBDDB3C7F861}" dt="2025-05-02T04:24:10.183" v="4954"/>
          <ac:spMkLst>
            <pc:docMk/>
            <pc:sldMk cId="1760513304" sldId="4466"/>
            <ac:spMk id="53" creationId="{0930C043-C403-DA17-39F3-40E7708B00A3}"/>
          </ac:spMkLst>
        </pc:spChg>
        <pc:spChg chg="mod">
          <ac:chgData name="Guarda Madriaza, Andres" userId="524f1fec-b848-4aa4-ad30-b433d0ef7cfd" providerId="ADAL" clId="{F0859668-BB13-444E-9498-EBDDB3C7F861}" dt="2025-05-02T04:24:10.183" v="4955"/>
          <ac:spMkLst>
            <pc:docMk/>
            <pc:sldMk cId="1760513304" sldId="4466"/>
            <ac:spMk id="54" creationId="{29E53A45-9CC3-79E9-C9F4-176B68041D40}"/>
          </ac:spMkLst>
        </pc:spChg>
        <pc:spChg chg="mod">
          <ac:chgData name="Guarda Madriaza, Andres" userId="524f1fec-b848-4aa4-ad30-b433d0ef7cfd" providerId="ADAL" clId="{F0859668-BB13-444E-9498-EBDDB3C7F861}" dt="2025-05-02T04:24:10.183" v="4956"/>
          <ac:spMkLst>
            <pc:docMk/>
            <pc:sldMk cId="1760513304" sldId="4466"/>
            <ac:spMk id="55" creationId="{1E867E73-0862-F1B5-FEF0-9F6F118F16DC}"/>
          </ac:spMkLst>
        </pc:spChg>
        <pc:spChg chg="mod ord">
          <ac:chgData name="Guarda Madriaza, Andres" userId="524f1fec-b848-4aa4-ad30-b433d0ef7cfd" providerId="ADAL" clId="{F0859668-BB13-444E-9498-EBDDB3C7F861}" dt="2025-05-02T04:24:10.183" v="4958"/>
          <ac:spMkLst>
            <pc:docMk/>
            <pc:sldMk cId="1760513304" sldId="4466"/>
            <ac:spMk id="57" creationId="{B77D1674-79FC-8311-A857-D1E5F84DFB98}"/>
          </ac:spMkLst>
        </pc:spChg>
        <pc:graphicFrameChg chg="mod">
          <ac:chgData name="Guarda Madriaza, Andres" userId="524f1fec-b848-4aa4-ad30-b433d0ef7cfd" providerId="ADAL" clId="{F0859668-BB13-444E-9498-EBDDB3C7F861}" dt="2025-05-02T04:24:10.198" v="4966"/>
          <ac:graphicFrameMkLst>
            <pc:docMk/>
            <pc:sldMk cId="1760513304" sldId="4466"/>
            <ac:graphicFrameMk id="7" creationId="{D6671726-3BCD-F3FA-F071-A4A61FC92580}"/>
          </ac:graphicFrameMkLst>
        </pc:graphicFrameChg>
        <pc:picChg chg="mod ord">
          <ac:chgData name="Guarda Madriaza, Andres" userId="524f1fec-b848-4aa4-ad30-b433d0ef7cfd" providerId="ADAL" clId="{F0859668-BB13-444E-9498-EBDDB3C7F861}" dt="2025-05-02T04:24:10.151" v="4912"/>
          <ac:picMkLst>
            <pc:docMk/>
            <pc:sldMk cId="1760513304" sldId="4466"/>
            <ac:picMk id="25" creationId="{0CE1485D-BEA2-1CCC-3994-99208FBDE79B}"/>
          </ac:picMkLst>
        </pc:picChg>
        <pc:picChg chg="mod ord">
          <ac:chgData name="Guarda Madriaza, Andres" userId="524f1fec-b848-4aa4-ad30-b433d0ef7cfd" providerId="ADAL" clId="{F0859668-BB13-444E-9498-EBDDB3C7F861}" dt="2025-05-02T04:53:05.921" v="5344" actId="1038"/>
          <ac:picMkLst>
            <pc:docMk/>
            <pc:sldMk cId="1760513304" sldId="4466"/>
            <ac:picMk id="26" creationId="{F69F793D-52A0-FAF8-5ACA-8FEBDDB43BE5}"/>
          </ac:picMkLst>
        </pc:picChg>
        <pc:picChg chg="mod ord">
          <ac:chgData name="Guarda Madriaza, Andres" userId="524f1fec-b848-4aa4-ad30-b433d0ef7cfd" providerId="ADAL" clId="{F0859668-BB13-444E-9498-EBDDB3C7F861}" dt="2025-05-02T04:53:10.646" v="5346" actId="1037"/>
          <ac:picMkLst>
            <pc:docMk/>
            <pc:sldMk cId="1760513304" sldId="4466"/>
            <ac:picMk id="27" creationId="{48758308-3B80-D38E-70A1-553F60304E4E}"/>
          </ac:picMkLst>
        </pc:picChg>
        <pc:picChg chg="mod ord">
          <ac:chgData name="Guarda Madriaza, Andres" userId="524f1fec-b848-4aa4-ad30-b433d0ef7cfd" providerId="ADAL" clId="{F0859668-BB13-444E-9498-EBDDB3C7F861}" dt="2025-05-02T04:52:46.911" v="5322" actId="1037"/>
          <ac:picMkLst>
            <pc:docMk/>
            <pc:sldMk cId="1760513304" sldId="4466"/>
            <ac:picMk id="32" creationId="{AF7D8118-2D9E-5A63-96EB-2475C79AF496}"/>
          </ac:picMkLst>
        </pc:picChg>
        <pc:picChg chg="mod ord">
          <ac:chgData name="Guarda Madriaza, Andres" userId="524f1fec-b848-4aa4-ad30-b433d0ef7cfd" providerId="ADAL" clId="{F0859668-BB13-444E-9498-EBDDB3C7F861}" dt="2025-05-02T04:24:10.183" v="4945"/>
          <ac:picMkLst>
            <pc:docMk/>
            <pc:sldMk cId="1760513304" sldId="4466"/>
            <ac:picMk id="46" creationId="{AEA66CA1-0CE2-AA53-94CB-E6AB27B6A7A0}"/>
          </ac:picMkLst>
        </pc:picChg>
        <pc:picChg chg="mod ord">
          <ac:chgData name="Guarda Madriaza, Andres" userId="524f1fec-b848-4aa4-ad30-b433d0ef7cfd" providerId="ADAL" clId="{F0859668-BB13-444E-9498-EBDDB3C7F861}" dt="2025-05-02T04:24:10.183" v="4948"/>
          <ac:picMkLst>
            <pc:docMk/>
            <pc:sldMk cId="1760513304" sldId="4466"/>
            <ac:picMk id="48" creationId="{BC1DFDF6-871A-9428-E2D1-1E0CE6FDA023}"/>
          </ac:picMkLst>
        </pc:picChg>
        <pc:picChg chg="mod ord">
          <ac:chgData name="Guarda Madriaza, Andres" userId="524f1fec-b848-4aa4-ad30-b433d0ef7cfd" providerId="ADAL" clId="{F0859668-BB13-444E-9498-EBDDB3C7F861}" dt="2025-05-02T04:24:10.183" v="4950"/>
          <ac:picMkLst>
            <pc:docMk/>
            <pc:sldMk cId="1760513304" sldId="4466"/>
            <ac:picMk id="49" creationId="{AB3CE6F8-2030-56C5-C152-38956353BE7F}"/>
          </ac:picMkLst>
        </pc:picChg>
        <pc:picChg chg="mod ord">
          <ac:chgData name="Guarda Madriaza, Andres" userId="524f1fec-b848-4aa4-ad30-b433d0ef7cfd" providerId="ADAL" clId="{F0859668-BB13-444E-9498-EBDDB3C7F861}" dt="2025-05-02T04:24:10.183" v="4960"/>
          <ac:picMkLst>
            <pc:docMk/>
            <pc:sldMk cId="1760513304" sldId="4466"/>
            <ac:picMk id="59" creationId="{CFDA125E-3C80-A721-01E5-5427B25C68CE}"/>
          </ac:picMkLst>
        </pc:picChg>
        <pc:cxnChg chg="mod ord">
          <ac:chgData name="Guarda Madriaza, Andres" userId="524f1fec-b848-4aa4-ad30-b433d0ef7cfd" providerId="ADAL" clId="{F0859668-BB13-444E-9498-EBDDB3C7F861}" dt="2025-05-02T04:24:10.151" v="4918"/>
          <ac:cxnSpMkLst>
            <pc:docMk/>
            <pc:sldMk cId="1760513304" sldId="4466"/>
            <ac:cxnSpMk id="28" creationId="{7B9BA542-7FCF-A6FE-7E00-D290571E028B}"/>
          </ac:cxnSpMkLst>
        </pc:cxnChg>
      </pc:sldChg>
      <pc:sldChg chg="modSp mod">
        <pc:chgData name="Guarda Madriaza, Andres" userId="524f1fec-b848-4aa4-ad30-b433d0ef7cfd" providerId="ADAL" clId="{F0859668-BB13-444E-9498-EBDDB3C7F861}" dt="2025-05-02T04:54:52.594" v="5352" actId="13926"/>
        <pc:sldMkLst>
          <pc:docMk/>
          <pc:sldMk cId="3110330266" sldId="4467"/>
        </pc:sldMkLst>
      </pc:sldChg>
      <pc:sldChg chg="modSp mod">
        <pc:chgData name="Guarda Madriaza, Andres" userId="524f1fec-b848-4aa4-ad30-b433d0ef7cfd" providerId="ADAL" clId="{F0859668-BB13-444E-9498-EBDDB3C7F861}" dt="2025-05-02T04:25:07.595" v="4975" actId="255"/>
        <pc:sldMkLst>
          <pc:docMk/>
          <pc:sldMk cId="454047127" sldId="4468"/>
        </pc:sldMkLst>
        <pc:spChg chg="mod">
          <ac:chgData name="Guarda Madriaza, Andres" userId="524f1fec-b848-4aa4-ad30-b433d0ef7cfd" providerId="ADAL" clId="{F0859668-BB13-444E-9498-EBDDB3C7F861}" dt="2025-05-02T04:00:56.860" v="4173" actId="20577"/>
          <ac:spMkLst>
            <pc:docMk/>
            <pc:sldMk cId="454047127" sldId="4468"/>
            <ac:spMk id="11" creationId="{E92AE28A-777F-896A-BCAC-FCED8386439F}"/>
          </ac:spMkLst>
        </pc:spChg>
        <pc:spChg chg="mod">
          <ac:chgData name="Guarda Madriaza, Andres" userId="524f1fec-b848-4aa4-ad30-b433d0ef7cfd" providerId="ADAL" clId="{F0859668-BB13-444E-9498-EBDDB3C7F861}" dt="2025-05-02T04:25:07.595" v="4975" actId="255"/>
          <ac:spMkLst>
            <pc:docMk/>
            <pc:sldMk cId="454047127" sldId="4468"/>
            <ac:spMk id="14" creationId="{DB67B596-3787-F3AE-CFB6-FB33342BDBEC}"/>
          </ac:spMkLst>
        </pc:spChg>
      </pc:sldChg>
      <pc:sldChg chg="modSp mod">
        <pc:chgData name="Guarda Madriaza, Andres" userId="524f1fec-b848-4aa4-ad30-b433d0ef7cfd" providerId="ADAL" clId="{F0859668-BB13-444E-9498-EBDDB3C7F861}" dt="2025-05-02T04:42:15.639" v="5270" actId="114"/>
        <pc:sldMkLst>
          <pc:docMk/>
          <pc:sldMk cId="1510593437" sldId="4475"/>
        </pc:sldMkLst>
        <pc:spChg chg="mod">
          <ac:chgData name="Guarda Madriaza, Andres" userId="524f1fec-b848-4aa4-ad30-b433d0ef7cfd" providerId="ADAL" clId="{F0859668-BB13-444E-9498-EBDDB3C7F861}" dt="2025-05-02T04:42:15.639" v="5270" actId="114"/>
          <ac:spMkLst>
            <pc:docMk/>
            <pc:sldMk cId="1510593437" sldId="4475"/>
            <ac:spMk id="20" creationId="{04A01AA6-13EE-F435-C322-DB4EE87C3E97}"/>
          </ac:spMkLst>
        </pc:spChg>
        <pc:spChg chg="mod">
          <ac:chgData name="Guarda Madriaza, Andres" userId="524f1fec-b848-4aa4-ad30-b433d0ef7cfd" providerId="ADAL" clId="{F0859668-BB13-444E-9498-EBDDB3C7F861}" dt="2025-05-02T04:42:10.946" v="5269" actId="1036"/>
          <ac:spMkLst>
            <pc:docMk/>
            <pc:sldMk cId="1510593437" sldId="4475"/>
            <ac:spMk id="22" creationId="{75F4C804-F2B5-1C08-EE59-E207740C573A}"/>
          </ac:spMkLst>
        </pc:spChg>
        <pc:spChg chg="mod">
          <ac:chgData name="Guarda Madriaza, Andres" userId="524f1fec-b848-4aa4-ad30-b433d0ef7cfd" providerId="ADAL" clId="{F0859668-BB13-444E-9498-EBDDB3C7F861}" dt="2025-05-02T04:41:45.033" v="5253" actId="1036"/>
          <ac:spMkLst>
            <pc:docMk/>
            <pc:sldMk cId="1510593437" sldId="4475"/>
            <ac:spMk id="29" creationId="{1787D5C0-2941-5863-53D1-EFB9B72B089C}"/>
          </ac:spMkLst>
        </pc:spChg>
        <pc:spChg chg="mod">
          <ac:chgData name="Guarda Madriaza, Andres" userId="524f1fec-b848-4aa4-ad30-b433d0ef7cfd" providerId="ADAL" clId="{F0859668-BB13-444E-9498-EBDDB3C7F861}" dt="2025-05-02T04:41:45.033" v="5253" actId="1036"/>
          <ac:spMkLst>
            <pc:docMk/>
            <pc:sldMk cId="1510593437" sldId="4475"/>
            <ac:spMk id="30" creationId="{39929EB1-FDF3-AFF4-B958-16671ABA7B3E}"/>
          </ac:spMkLst>
        </pc:spChg>
        <pc:picChg chg="mod">
          <ac:chgData name="Guarda Madriaza, Andres" userId="524f1fec-b848-4aa4-ad30-b433d0ef7cfd" providerId="ADAL" clId="{F0859668-BB13-444E-9498-EBDDB3C7F861}" dt="2025-05-02T04:42:08.623" v="5267" actId="14100"/>
          <ac:picMkLst>
            <pc:docMk/>
            <pc:sldMk cId="1510593437" sldId="4475"/>
            <ac:picMk id="9" creationId="{8D25F49D-0825-03F5-C789-AFF93035F347}"/>
          </ac:picMkLst>
        </pc:picChg>
        <pc:picChg chg="mod">
          <ac:chgData name="Guarda Madriaza, Andres" userId="524f1fec-b848-4aa4-ad30-b433d0ef7cfd" providerId="ADAL" clId="{F0859668-BB13-444E-9498-EBDDB3C7F861}" dt="2025-05-02T04:42:10.946" v="5269" actId="1036"/>
          <ac:picMkLst>
            <pc:docMk/>
            <pc:sldMk cId="1510593437" sldId="4475"/>
            <ac:picMk id="38" creationId="{31EBC9F5-B501-2B9A-8607-DB78F65E5DBA}"/>
          </ac:picMkLst>
        </pc:picChg>
        <pc:picChg chg="mod">
          <ac:chgData name="Guarda Madriaza, Andres" userId="524f1fec-b848-4aa4-ad30-b433d0ef7cfd" providerId="ADAL" clId="{F0859668-BB13-444E-9498-EBDDB3C7F861}" dt="2025-05-02T04:41:45.033" v="5253" actId="1036"/>
          <ac:picMkLst>
            <pc:docMk/>
            <pc:sldMk cId="1510593437" sldId="4475"/>
            <ac:picMk id="40" creationId="{8C5C2C6D-0B91-CC39-06D7-AD40C1E19218}"/>
          </ac:picMkLst>
        </pc:picChg>
      </pc:sldChg>
      <pc:sldChg chg="del">
        <pc:chgData name="Guarda Madriaza, Andres" userId="524f1fec-b848-4aa4-ad30-b433d0ef7cfd" providerId="ADAL" clId="{F0859668-BB13-444E-9498-EBDDB3C7F861}" dt="2025-05-02T04:54:21.764" v="5351" actId="47"/>
        <pc:sldMkLst>
          <pc:docMk/>
          <pc:sldMk cId="536326656" sldId="4484"/>
        </pc:sldMkLst>
      </pc:sldChg>
      <pc:sldChg chg="del">
        <pc:chgData name="Guarda Madriaza, Andres" userId="524f1fec-b848-4aa4-ad30-b433d0ef7cfd" providerId="ADAL" clId="{F0859668-BB13-444E-9498-EBDDB3C7F861}" dt="2025-05-01T01:37:22.982" v="0" actId="47"/>
        <pc:sldMkLst>
          <pc:docMk/>
          <pc:sldMk cId="2761590893" sldId="4485"/>
        </pc:sldMkLst>
      </pc:sldChg>
      <pc:sldChg chg="addSp delSp modSp mod">
        <pc:chgData name="Guarda Madriaza, Andres" userId="524f1fec-b848-4aa4-ad30-b433d0ef7cfd" providerId="ADAL" clId="{F0859668-BB13-444E-9498-EBDDB3C7F861}" dt="2025-05-02T04:52:12.036" v="5314"/>
        <pc:sldMkLst>
          <pc:docMk/>
          <pc:sldMk cId="1384679963" sldId="4486"/>
        </pc:sldMkLst>
        <pc:spChg chg="add mod ord">
          <ac:chgData name="Guarda Madriaza, Andres" userId="524f1fec-b848-4aa4-ad30-b433d0ef7cfd" providerId="ADAL" clId="{F0859668-BB13-444E-9498-EBDDB3C7F861}" dt="2025-05-01T01:47:14" v="130" actId="207"/>
          <ac:spMkLst>
            <pc:docMk/>
            <pc:sldMk cId="1384679963" sldId="4486"/>
            <ac:spMk id="2" creationId="{B14BB7B3-B8B3-42E3-822F-E28EF32DC1C2}"/>
          </ac:spMkLst>
        </pc:spChg>
        <pc:spChg chg="mod ord">
          <ac:chgData name="Guarda Madriaza, Andres" userId="524f1fec-b848-4aa4-ad30-b433d0ef7cfd" providerId="ADAL" clId="{F0859668-BB13-444E-9498-EBDDB3C7F861}" dt="2025-05-01T01:43:48.108" v="85" actId="1035"/>
          <ac:spMkLst>
            <pc:docMk/>
            <pc:sldMk cId="1384679963" sldId="4486"/>
            <ac:spMk id="3" creationId="{901CC820-D2CA-AFB3-0AFE-0471FBCAF105}"/>
          </ac:spMkLst>
        </pc:spChg>
        <pc:spChg chg="mod">
          <ac:chgData name="Guarda Madriaza, Andres" userId="524f1fec-b848-4aa4-ad30-b433d0ef7cfd" providerId="ADAL" clId="{F0859668-BB13-444E-9498-EBDDB3C7F861}" dt="2025-05-01T14:27:14.764" v="362" actId="113"/>
          <ac:spMkLst>
            <pc:docMk/>
            <pc:sldMk cId="1384679963" sldId="4486"/>
            <ac:spMk id="6" creationId="{9E57E696-36C7-44F4-9B88-24C964FB782F}"/>
          </ac:spMkLst>
        </pc:spChg>
        <pc:spChg chg="mod topLvl">
          <ac:chgData name="Guarda Madriaza, Andres" userId="524f1fec-b848-4aa4-ad30-b433d0ef7cfd" providerId="ADAL" clId="{F0859668-BB13-444E-9498-EBDDB3C7F861}" dt="2025-05-01T14:16:57.035" v="273" actId="113"/>
          <ac:spMkLst>
            <pc:docMk/>
            <pc:sldMk cId="1384679963" sldId="4486"/>
            <ac:spMk id="9" creationId="{0C0C53A1-E8A0-479E-0EAF-9D191B19BF26}"/>
          </ac:spMkLst>
        </pc:spChg>
        <pc:spChg chg="mod">
          <ac:chgData name="Guarda Madriaza, Andres" userId="524f1fec-b848-4aa4-ad30-b433d0ef7cfd" providerId="ADAL" clId="{F0859668-BB13-444E-9498-EBDDB3C7F861}" dt="2025-05-01T14:17:10.715" v="277" actId="207"/>
          <ac:spMkLst>
            <pc:docMk/>
            <pc:sldMk cId="1384679963" sldId="4486"/>
            <ac:spMk id="10" creationId="{590F2CCA-678F-395D-DD2C-61A3E1D091CF}"/>
          </ac:spMkLst>
        </pc:spChg>
        <pc:spChg chg="add del mod topLvl">
          <ac:chgData name="Guarda Madriaza, Andres" userId="524f1fec-b848-4aa4-ad30-b433d0ef7cfd" providerId="ADAL" clId="{F0859668-BB13-444E-9498-EBDDB3C7F861}" dt="2025-05-01T14:17:02.978" v="274" actId="207"/>
          <ac:spMkLst>
            <pc:docMk/>
            <pc:sldMk cId="1384679963" sldId="4486"/>
            <ac:spMk id="11" creationId="{2E6A40FB-38C0-AC49-1A00-1C0A2C62E11B}"/>
          </ac:spMkLst>
        </pc:spChg>
        <pc:spChg chg="add mod ord">
          <ac:chgData name="Guarda Madriaza, Andres" userId="524f1fec-b848-4aa4-ad30-b433d0ef7cfd" providerId="ADAL" clId="{F0859668-BB13-444E-9498-EBDDB3C7F861}" dt="2025-05-01T19:13:05.822" v="1338" actId="14100"/>
          <ac:spMkLst>
            <pc:docMk/>
            <pc:sldMk cId="1384679963" sldId="4486"/>
            <ac:spMk id="12" creationId="{FBB3CB7E-1196-329F-9F7F-A9D8784F2663}"/>
          </ac:spMkLst>
        </pc:spChg>
        <pc:spChg chg="mod">
          <ac:chgData name="Guarda Madriaza, Andres" userId="524f1fec-b848-4aa4-ad30-b433d0ef7cfd" providerId="ADAL" clId="{F0859668-BB13-444E-9498-EBDDB3C7F861}" dt="2025-05-01T14:38:21.285" v="437" actId="20577"/>
          <ac:spMkLst>
            <pc:docMk/>
            <pc:sldMk cId="1384679963" sldId="4486"/>
            <ac:spMk id="19" creationId="{9A5914E0-4C61-ECB0-904E-74F66E01E011}"/>
          </ac:spMkLst>
        </pc:spChg>
        <pc:spChg chg="mod">
          <ac:chgData name="Guarda Madriaza, Andres" userId="524f1fec-b848-4aa4-ad30-b433d0ef7cfd" providerId="ADAL" clId="{F0859668-BB13-444E-9498-EBDDB3C7F861}" dt="2025-05-01T14:17:05.707" v="275" actId="207"/>
          <ac:spMkLst>
            <pc:docMk/>
            <pc:sldMk cId="1384679963" sldId="4486"/>
            <ac:spMk id="20" creationId="{3B3F2425-BC73-3800-40F0-891204DDA283}"/>
          </ac:spMkLst>
        </pc:spChg>
        <pc:spChg chg="mod">
          <ac:chgData name="Guarda Madriaza, Andres" userId="524f1fec-b848-4aa4-ad30-b433d0ef7cfd" providerId="ADAL" clId="{F0859668-BB13-444E-9498-EBDDB3C7F861}" dt="2025-05-01T14:25:24.878" v="353" actId="20577"/>
          <ac:spMkLst>
            <pc:docMk/>
            <pc:sldMk cId="1384679963" sldId="4486"/>
            <ac:spMk id="25" creationId="{06B242A2-5689-D07D-E831-AE7358C06322}"/>
          </ac:spMkLst>
        </pc:spChg>
        <pc:spChg chg="mod">
          <ac:chgData name="Guarda Madriaza, Andres" userId="524f1fec-b848-4aa4-ad30-b433d0ef7cfd" providerId="ADAL" clId="{F0859668-BB13-444E-9498-EBDDB3C7F861}" dt="2025-05-01T14:17:08.313" v="276" actId="207"/>
          <ac:spMkLst>
            <pc:docMk/>
            <pc:sldMk cId="1384679963" sldId="4486"/>
            <ac:spMk id="26" creationId="{7B9504E4-3BE4-A7CD-B077-57DADB1A60A4}"/>
          </ac:spMkLst>
        </pc:spChg>
        <pc:grpChg chg="mod ord">
          <ac:chgData name="Guarda Madriaza, Andres" userId="524f1fec-b848-4aa4-ad30-b433d0ef7cfd" providerId="ADAL" clId="{F0859668-BB13-444E-9498-EBDDB3C7F861}" dt="2025-05-01T01:47:42.109" v="148" actId="1036"/>
          <ac:grpSpMkLst>
            <pc:docMk/>
            <pc:sldMk cId="1384679963" sldId="4486"/>
            <ac:grpSpMk id="4" creationId="{1C167C76-A048-94D4-D9B3-4EBEC81FDBFC}"/>
          </ac:grpSpMkLst>
        </pc:grpChg>
        <pc:grpChg chg="add del mod ord">
          <ac:chgData name="Guarda Madriaza, Andres" userId="524f1fec-b848-4aa4-ad30-b433d0ef7cfd" providerId="ADAL" clId="{F0859668-BB13-444E-9498-EBDDB3C7F861}" dt="2025-05-01T14:16:12.067" v="245" actId="478"/>
          <ac:grpSpMkLst>
            <pc:docMk/>
            <pc:sldMk cId="1384679963" sldId="4486"/>
            <ac:grpSpMk id="8" creationId="{F70ED22F-B7CE-F3FE-FF9D-BCA28A210FE9}"/>
          </ac:grpSpMkLst>
        </pc:grpChg>
        <pc:grpChg chg="mod ord">
          <ac:chgData name="Guarda Madriaza, Andres" userId="524f1fec-b848-4aa4-ad30-b433d0ef7cfd" providerId="ADAL" clId="{F0859668-BB13-444E-9498-EBDDB3C7F861}" dt="2025-05-01T14:16:28.279" v="260" actId="1036"/>
          <ac:grpSpMkLst>
            <pc:docMk/>
            <pc:sldMk cId="1384679963" sldId="4486"/>
            <ac:grpSpMk id="18" creationId="{530C38BE-8F41-1E06-1332-0D53392BF972}"/>
          </ac:grpSpMkLst>
        </pc:grpChg>
        <pc:grpChg chg="mod ord">
          <ac:chgData name="Guarda Madriaza, Andres" userId="524f1fec-b848-4aa4-ad30-b433d0ef7cfd" providerId="ADAL" clId="{F0859668-BB13-444E-9498-EBDDB3C7F861}" dt="2025-05-01T14:26:45.053" v="361" actId="1035"/>
          <ac:grpSpMkLst>
            <pc:docMk/>
            <pc:sldMk cId="1384679963" sldId="4486"/>
            <ac:grpSpMk id="24" creationId="{1BAD2521-D74F-129B-FE5A-C42A55975AA2}"/>
          </ac:grpSpMkLst>
        </pc:grpChg>
        <pc:graphicFrameChg chg="mod">
          <ac:chgData name="Guarda Madriaza, Andres" userId="524f1fec-b848-4aa4-ad30-b433d0ef7cfd" providerId="ADAL" clId="{F0859668-BB13-444E-9498-EBDDB3C7F861}" dt="2025-05-01T01:41:20.898" v="56"/>
          <ac:graphicFrameMkLst>
            <pc:docMk/>
            <pc:sldMk cId="1384679963" sldId="4486"/>
            <ac:graphicFrameMk id="7" creationId="{531C162A-6C53-31C9-9426-97596DD8BF31}"/>
          </ac:graphicFrameMkLst>
        </pc:graphicFrameChg>
        <pc:picChg chg="add mod modCrop">
          <ac:chgData name="Guarda Madriaza, Andres" userId="524f1fec-b848-4aa4-ad30-b433d0ef7cfd" providerId="ADAL" clId="{F0859668-BB13-444E-9498-EBDDB3C7F861}" dt="2025-05-01T01:48:57.609" v="155" actId="14100"/>
          <ac:picMkLst>
            <pc:docMk/>
            <pc:sldMk cId="1384679963" sldId="4486"/>
            <ac:picMk id="14" creationId="{F96FB804-69B5-A2D8-F300-B17A80FFB0DA}"/>
          </ac:picMkLst>
        </pc:picChg>
      </pc:sldChg>
      <pc:sldChg chg="addSp delSp modSp mod">
        <pc:chgData name="Guarda Madriaza, Andres" userId="524f1fec-b848-4aa4-ad30-b433d0ef7cfd" providerId="ADAL" clId="{F0859668-BB13-444E-9498-EBDDB3C7F861}" dt="2025-05-01T19:01:02.565" v="1245" actId="1076"/>
        <pc:sldMkLst>
          <pc:docMk/>
          <pc:sldMk cId="2188482161" sldId="4487"/>
        </pc:sldMkLst>
        <pc:spChg chg="mod">
          <ac:chgData name="Guarda Madriaza, Andres" userId="524f1fec-b848-4aa4-ad30-b433d0ef7cfd" providerId="ADAL" clId="{F0859668-BB13-444E-9498-EBDDB3C7F861}" dt="2025-05-01T18:18:23.519" v="797" actId="20577"/>
          <ac:spMkLst>
            <pc:docMk/>
            <pc:sldMk cId="2188482161" sldId="4487"/>
            <ac:spMk id="4" creationId="{8A386AE8-DF38-3055-2444-0BE446DF5B31}"/>
          </ac:spMkLst>
        </pc:spChg>
        <pc:spChg chg="mod">
          <ac:chgData name="Guarda Madriaza, Andres" userId="524f1fec-b848-4aa4-ad30-b433d0ef7cfd" providerId="ADAL" clId="{F0859668-BB13-444E-9498-EBDDB3C7F861}" dt="2025-05-01T18:27:44.854" v="1027" actId="948"/>
          <ac:spMkLst>
            <pc:docMk/>
            <pc:sldMk cId="2188482161" sldId="4487"/>
            <ac:spMk id="5" creationId="{6AC8242F-027F-E73F-F474-662FF7A33762}"/>
          </ac:spMkLst>
        </pc:spChg>
        <pc:spChg chg="mod">
          <ac:chgData name="Guarda Madriaza, Andres" userId="524f1fec-b848-4aa4-ad30-b433d0ef7cfd" providerId="ADAL" clId="{F0859668-BB13-444E-9498-EBDDB3C7F861}" dt="2025-05-01T18:53:30.861" v="1135" actId="14100"/>
          <ac:spMkLst>
            <pc:docMk/>
            <pc:sldMk cId="2188482161" sldId="4487"/>
            <ac:spMk id="8" creationId="{CD123C1F-C2B0-0699-057B-B0603020E71A}"/>
          </ac:spMkLst>
        </pc:spChg>
        <pc:spChg chg="mod">
          <ac:chgData name="Guarda Madriaza, Andres" userId="524f1fec-b848-4aa4-ad30-b433d0ef7cfd" providerId="ADAL" clId="{F0859668-BB13-444E-9498-EBDDB3C7F861}" dt="2025-05-01T18:40:33.377" v="1107" actId="20577"/>
          <ac:spMkLst>
            <pc:docMk/>
            <pc:sldMk cId="2188482161" sldId="4487"/>
            <ac:spMk id="9" creationId="{29DA3ABB-07AF-92E3-B8D1-93646D8FFE9C}"/>
          </ac:spMkLst>
        </pc:spChg>
        <pc:spChg chg="mod">
          <ac:chgData name="Guarda Madriaza, Andres" userId="524f1fec-b848-4aa4-ad30-b433d0ef7cfd" providerId="ADAL" clId="{F0859668-BB13-444E-9498-EBDDB3C7F861}" dt="2025-05-01T18:28:05.495" v="1029" actId="948"/>
          <ac:spMkLst>
            <pc:docMk/>
            <pc:sldMk cId="2188482161" sldId="4487"/>
            <ac:spMk id="32" creationId="{54E39059-20BB-2585-BDE2-394590C6A98C}"/>
          </ac:spMkLst>
        </pc:spChg>
        <pc:spChg chg="mod">
          <ac:chgData name="Guarda Madriaza, Andres" userId="524f1fec-b848-4aa4-ad30-b433d0ef7cfd" providerId="ADAL" clId="{F0859668-BB13-444E-9498-EBDDB3C7F861}" dt="2025-05-01T18:53:37.939" v="1136" actId="14100"/>
          <ac:spMkLst>
            <pc:docMk/>
            <pc:sldMk cId="2188482161" sldId="4487"/>
            <ac:spMk id="35" creationId="{D7250173-DCDE-9B8B-E741-0780405BC23A}"/>
          </ac:spMkLst>
        </pc:spChg>
        <pc:grpChg chg="mod">
          <ac:chgData name="Guarda Madriaza, Andres" userId="524f1fec-b848-4aa4-ad30-b433d0ef7cfd" providerId="ADAL" clId="{F0859668-BB13-444E-9498-EBDDB3C7F861}" dt="2025-05-01T18:17:33.610" v="705" actId="1035"/>
          <ac:grpSpMkLst>
            <pc:docMk/>
            <pc:sldMk cId="2188482161" sldId="4487"/>
            <ac:grpSpMk id="6" creationId="{53533E66-CE95-9ADC-13E8-131A5D5A60BB}"/>
          </ac:grpSpMkLst>
        </pc:grpChg>
        <pc:grpChg chg="add mod">
          <ac:chgData name="Guarda Madriaza, Andres" userId="524f1fec-b848-4aa4-ad30-b433d0ef7cfd" providerId="ADAL" clId="{F0859668-BB13-444E-9498-EBDDB3C7F861}" dt="2025-05-01T18:28:45.081" v="1050" actId="1035"/>
          <ac:grpSpMkLst>
            <pc:docMk/>
            <pc:sldMk cId="2188482161" sldId="4487"/>
            <ac:grpSpMk id="7" creationId="{64C072B9-38ED-131A-61BB-46591C3BD2C9}"/>
          </ac:grpSpMkLst>
        </pc:grpChg>
        <pc:grpChg chg="mod">
          <ac:chgData name="Guarda Madriaza, Andres" userId="524f1fec-b848-4aa4-ad30-b433d0ef7cfd" providerId="ADAL" clId="{F0859668-BB13-444E-9498-EBDDB3C7F861}" dt="2025-05-01T18:38:11.304" v="1076" actId="1035"/>
          <ac:grpSpMkLst>
            <pc:docMk/>
            <pc:sldMk cId="2188482161" sldId="4487"/>
            <ac:grpSpMk id="31" creationId="{74A6A774-240B-B27A-A98E-1B369B40BBDF}"/>
          </ac:grpSpMkLst>
        </pc:grpChg>
        <pc:grpChg chg="mod">
          <ac:chgData name="Guarda Madriaza, Andres" userId="524f1fec-b848-4aa4-ad30-b433d0ef7cfd" providerId="ADAL" clId="{F0859668-BB13-444E-9498-EBDDB3C7F861}" dt="2025-05-01T18:47:38.282" v="1134" actId="1035"/>
          <ac:grpSpMkLst>
            <pc:docMk/>
            <pc:sldMk cId="2188482161" sldId="4487"/>
            <ac:grpSpMk id="34" creationId="{75E4436C-BB4B-00C3-4F14-120C480AC230}"/>
          </ac:grpSpMkLst>
        </pc:grpChg>
        <pc:picChg chg="mod">
          <ac:chgData name="Guarda Madriaza, Andres" userId="524f1fec-b848-4aa4-ad30-b433d0ef7cfd" providerId="ADAL" clId="{F0859668-BB13-444E-9498-EBDDB3C7F861}" dt="2025-05-01T19:01:02.565" v="1245" actId="1076"/>
          <ac:picMkLst>
            <pc:docMk/>
            <pc:sldMk cId="2188482161" sldId="4487"/>
            <ac:picMk id="12" creationId="{3FD30E2D-95A2-8CF0-E809-4C80C3A07B47}"/>
          </ac:picMkLst>
        </pc:picChg>
      </pc:sldChg>
      <pc:sldChg chg="addSp delSp modSp mod">
        <pc:chgData name="Guarda Madriaza, Andres" userId="524f1fec-b848-4aa4-ad30-b433d0ef7cfd" providerId="ADAL" clId="{F0859668-BB13-444E-9498-EBDDB3C7F861}" dt="2025-05-02T02:34:00.031" v="2141" actId="20577"/>
        <pc:sldMkLst>
          <pc:docMk/>
          <pc:sldMk cId="2639895532" sldId="4488"/>
        </pc:sldMkLst>
        <pc:spChg chg="mod">
          <ac:chgData name="Guarda Madriaza, Andres" userId="524f1fec-b848-4aa4-ad30-b433d0ef7cfd" providerId="ADAL" clId="{F0859668-BB13-444E-9498-EBDDB3C7F861}" dt="2025-05-02T02:09:54.384" v="1562" actId="1036"/>
          <ac:spMkLst>
            <pc:docMk/>
            <pc:sldMk cId="2639895532" sldId="4488"/>
            <ac:spMk id="6" creationId="{17B36644-B6C6-BA23-AE33-961CAF73E7D5}"/>
          </ac:spMkLst>
        </pc:spChg>
        <pc:spChg chg="mod">
          <ac:chgData name="Guarda Madriaza, Andres" userId="524f1fec-b848-4aa4-ad30-b433d0ef7cfd" providerId="ADAL" clId="{F0859668-BB13-444E-9498-EBDDB3C7F861}" dt="2025-05-02T02:09:34.702" v="1557" actId="20577"/>
          <ac:spMkLst>
            <pc:docMk/>
            <pc:sldMk cId="2639895532" sldId="4488"/>
            <ac:spMk id="10" creationId="{10D21A58-8CA0-6C7A-BDED-EEED0F3FC795}"/>
          </ac:spMkLst>
        </pc:spChg>
        <pc:graphicFrameChg chg="add mod modGraphic">
          <ac:chgData name="Guarda Madriaza, Andres" userId="524f1fec-b848-4aa4-ad30-b433d0ef7cfd" providerId="ADAL" clId="{F0859668-BB13-444E-9498-EBDDB3C7F861}" dt="2025-05-02T02:34:00.031" v="2141" actId="20577"/>
          <ac:graphicFrameMkLst>
            <pc:docMk/>
            <pc:sldMk cId="2639895532" sldId="4488"/>
            <ac:graphicFrameMk id="5" creationId="{F3F10ED0-6486-E09F-D971-FB982184E638}"/>
          </ac:graphicFrameMkLst>
        </pc:graphicFrameChg>
      </pc:sldChg>
      <pc:sldChg chg="addSp modSp mod">
        <pc:chgData name="Guarda Madriaza, Andres" userId="524f1fec-b848-4aa4-ad30-b433d0ef7cfd" providerId="ADAL" clId="{F0859668-BB13-444E-9498-EBDDB3C7F861}" dt="2025-05-02T03:01:30.287" v="3611" actId="403"/>
        <pc:sldMkLst>
          <pc:docMk/>
          <pc:sldMk cId="2824732361" sldId="4489"/>
        </pc:sldMkLst>
        <pc:spChg chg="mod">
          <ac:chgData name="Guarda Madriaza, Andres" userId="524f1fec-b848-4aa4-ad30-b433d0ef7cfd" providerId="ADAL" clId="{F0859668-BB13-444E-9498-EBDDB3C7F861}" dt="2025-05-02T02:27:40.035" v="2103"/>
          <ac:spMkLst>
            <pc:docMk/>
            <pc:sldMk cId="2824732361" sldId="4489"/>
            <ac:spMk id="3" creationId="{0BB46C2C-CA50-1249-4A21-3CD7B7C8793A}"/>
          </ac:spMkLst>
        </pc:spChg>
        <pc:spChg chg="mod">
          <ac:chgData name="Guarda Madriaza, Andres" userId="524f1fec-b848-4aa4-ad30-b433d0ef7cfd" providerId="ADAL" clId="{F0859668-BB13-444E-9498-EBDDB3C7F861}" dt="2025-05-02T02:27:40.035" v="2104"/>
          <ac:spMkLst>
            <pc:docMk/>
            <pc:sldMk cId="2824732361" sldId="4489"/>
            <ac:spMk id="4" creationId="{A640AB88-AC2D-6FAC-2A5E-9C3026DC20E1}"/>
          </ac:spMkLst>
        </pc:spChg>
        <pc:spChg chg="mod">
          <ac:chgData name="Guarda Madriaza, Andres" userId="524f1fec-b848-4aa4-ad30-b433d0ef7cfd" providerId="ADAL" clId="{F0859668-BB13-444E-9498-EBDDB3C7F861}" dt="2025-05-02T02:27:40.035" v="2105"/>
          <ac:spMkLst>
            <pc:docMk/>
            <pc:sldMk cId="2824732361" sldId="4489"/>
            <ac:spMk id="5" creationId="{77F706C4-B461-D119-A763-1606AA3D02A9}"/>
          </ac:spMkLst>
        </pc:spChg>
        <pc:spChg chg="mod ord">
          <ac:chgData name="Guarda Madriaza, Andres" userId="524f1fec-b848-4aa4-ad30-b433d0ef7cfd" providerId="ADAL" clId="{F0859668-BB13-444E-9498-EBDDB3C7F861}" dt="2025-05-02T02:27:40.020" v="2084"/>
          <ac:spMkLst>
            <pc:docMk/>
            <pc:sldMk cId="2824732361" sldId="4489"/>
            <ac:spMk id="6" creationId="{5FB2A1A7-EF40-76DD-D226-9FC601E60355}"/>
          </ac:spMkLst>
        </pc:spChg>
        <pc:spChg chg="mod">
          <ac:chgData name="Guarda Madriaza, Andres" userId="524f1fec-b848-4aa4-ad30-b433d0ef7cfd" providerId="ADAL" clId="{F0859668-BB13-444E-9498-EBDDB3C7F861}" dt="2025-05-02T02:27:40.035" v="2106"/>
          <ac:spMkLst>
            <pc:docMk/>
            <pc:sldMk cId="2824732361" sldId="4489"/>
            <ac:spMk id="8" creationId="{BB71EA1B-04DA-234C-E595-1091A37A081C}"/>
          </ac:spMkLst>
        </pc:spChg>
        <pc:spChg chg="mod">
          <ac:chgData name="Guarda Madriaza, Andres" userId="524f1fec-b848-4aa4-ad30-b433d0ef7cfd" providerId="ADAL" clId="{F0859668-BB13-444E-9498-EBDDB3C7F861}" dt="2025-05-02T02:27:40.035" v="2107"/>
          <ac:spMkLst>
            <pc:docMk/>
            <pc:sldMk cId="2824732361" sldId="4489"/>
            <ac:spMk id="9" creationId="{FE723484-3FAD-CC64-D7F0-D226CDF0FE99}"/>
          </ac:spMkLst>
        </pc:spChg>
        <pc:spChg chg="add mod ord">
          <ac:chgData name="Guarda Madriaza, Andres" userId="524f1fec-b848-4aa4-ad30-b433d0ef7cfd" providerId="ADAL" clId="{F0859668-BB13-444E-9498-EBDDB3C7F861}" dt="2025-05-02T02:27:40.004" v="2082"/>
          <ac:spMkLst>
            <pc:docMk/>
            <pc:sldMk cId="2824732361" sldId="4489"/>
            <ac:spMk id="10" creationId="{2759D15C-06BE-7E1A-ED80-EBE68BAC852B}"/>
          </ac:spMkLst>
        </pc:spChg>
        <pc:spChg chg="mod ord">
          <ac:chgData name="Guarda Madriaza, Andres" userId="524f1fec-b848-4aa4-ad30-b433d0ef7cfd" providerId="ADAL" clId="{F0859668-BB13-444E-9498-EBDDB3C7F861}" dt="2025-05-02T02:36:20.198" v="2269" actId="14100"/>
          <ac:spMkLst>
            <pc:docMk/>
            <pc:sldMk cId="2824732361" sldId="4489"/>
            <ac:spMk id="11" creationId="{49D14489-0C9C-8323-CB1B-03B9ED9BC6A2}"/>
          </ac:spMkLst>
        </pc:spChg>
        <pc:spChg chg="mod">
          <ac:chgData name="Guarda Madriaza, Andres" userId="524f1fec-b848-4aa4-ad30-b433d0ef7cfd" providerId="ADAL" clId="{F0859668-BB13-444E-9498-EBDDB3C7F861}" dt="2025-05-02T03:01:30.287" v="3611" actId="403"/>
          <ac:spMkLst>
            <pc:docMk/>
            <pc:sldMk cId="2824732361" sldId="4489"/>
            <ac:spMk id="18" creationId="{9B6F355D-242A-8609-E037-EA8281B93037}"/>
          </ac:spMkLst>
        </pc:spChg>
        <pc:spChg chg="mod">
          <ac:chgData name="Guarda Madriaza, Andres" userId="524f1fec-b848-4aa4-ad30-b433d0ef7cfd" providerId="ADAL" clId="{F0859668-BB13-444E-9498-EBDDB3C7F861}" dt="2025-05-02T02:27:40.035" v="2110"/>
          <ac:spMkLst>
            <pc:docMk/>
            <pc:sldMk cId="2824732361" sldId="4489"/>
            <ac:spMk id="20" creationId="{4F22E3BC-C101-DBDE-4DA9-49F573D88290}"/>
          </ac:spMkLst>
        </pc:spChg>
        <pc:spChg chg="mod">
          <ac:chgData name="Guarda Madriaza, Andres" userId="524f1fec-b848-4aa4-ad30-b433d0ef7cfd" providerId="ADAL" clId="{F0859668-BB13-444E-9498-EBDDB3C7F861}" dt="2025-05-02T02:27:40.035" v="2111"/>
          <ac:spMkLst>
            <pc:docMk/>
            <pc:sldMk cId="2824732361" sldId="4489"/>
            <ac:spMk id="21" creationId="{B29F323B-220F-7D45-7998-06F61B6BB0E7}"/>
          </ac:spMkLst>
        </pc:spChg>
        <pc:spChg chg="mod">
          <ac:chgData name="Guarda Madriaza, Andres" userId="524f1fec-b848-4aa4-ad30-b433d0ef7cfd" providerId="ADAL" clId="{F0859668-BB13-444E-9498-EBDDB3C7F861}" dt="2025-05-02T02:27:40.035" v="2112"/>
          <ac:spMkLst>
            <pc:docMk/>
            <pc:sldMk cId="2824732361" sldId="4489"/>
            <ac:spMk id="22" creationId="{54F7061C-85B2-DE1D-4BB6-8A9341AC8A77}"/>
          </ac:spMkLst>
        </pc:spChg>
        <pc:spChg chg="mod">
          <ac:chgData name="Guarda Madriaza, Andres" userId="524f1fec-b848-4aa4-ad30-b433d0ef7cfd" providerId="ADAL" clId="{F0859668-BB13-444E-9498-EBDDB3C7F861}" dt="2025-05-02T02:27:40.035" v="2113"/>
          <ac:spMkLst>
            <pc:docMk/>
            <pc:sldMk cId="2824732361" sldId="4489"/>
            <ac:spMk id="23" creationId="{A187CE49-324E-E591-FDFF-5015C3EADC9F}"/>
          </ac:spMkLst>
        </pc:spChg>
        <pc:spChg chg="mod">
          <ac:chgData name="Guarda Madriaza, Andres" userId="524f1fec-b848-4aa4-ad30-b433d0ef7cfd" providerId="ADAL" clId="{F0859668-BB13-444E-9498-EBDDB3C7F861}" dt="2025-05-02T02:27:40.035" v="2114"/>
          <ac:spMkLst>
            <pc:docMk/>
            <pc:sldMk cId="2824732361" sldId="4489"/>
            <ac:spMk id="24" creationId="{B3D90FA1-9F5C-D70F-F10B-B6C1C8A6A3A3}"/>
          </ac:spMkLst>
        </pc:spChg>
        <pc:spChg chg="mod">
          <ac:chgData name="Guarda Madriaza, Andres" userId="524f1fec-b848-4aa4-ad30-b433d0ef7cfd" providerId="ADAL" clId="{F0859668-BB13-444E-9498-EBDDB3C7F861}" dt="2025-05-02T02:53:36.725" v="3397" actId="1035"/>
          <ac:spMkLst>
            <pc:docMk/>
            <pc:sldMk cId="2824732361" sldId="4489"/>
            <ac:spMk id="29" creationId="{85EF8586-B544-F8BF-0C22-53E18F49A5F5}"/>
          </ac:spMkLst>
        </pc:spChg>
        <pc:spChg chg="mod">
          <ac:chgData name="Guarda Madriaza, Andres" userId="524f1fec-b848-4aa4-ad30-b433d0ef7cfd" providerId="ADAL" clId="{F0859668-BB13-444E-9498-EBDDB3C7F861}" dt="2025-05-02T02:27:40.020" v="2085"/>
          <ac:spMkLst>
            <pc:docMk/>
            <pc:sldMk cId="2824732361" sldId="4489"/>
            <ac:spMk id="50" creationId="{3A564A7C-0404-AF6B-12BC-736EC97B3804}"/>
          </ac:spMkLst>
        </pc:spChg>
        <pc:spChg chg="mod ord">
          <ac:chgData name="Guarda Madriaza, Andres" userId="524f1fec-b848-4aa4-ad30-b433d0ef7cfd" providerId="ADAL" clId="{F0859668-BB13-444E-9498-EBDDB3C7F861}" dt="2025-05-02T02:57:09.736" v="3544" actId="20577"/>
          <ac:spMkLst>
            <pc:docMk/>
            <pc:sldMk cId="2824732361" sldId="4489"/>
            <ac:spMk id="73" creationId="{CDC364A9-9EEE-9C22-B2E7-BF5097EF0ADB}"/>
          </ac:spMkLst>
        </pc:spChg>
        <pc:graphicFrameChg chg="mod">
          <ac:chgData name="Guarda Madriaza, Andres" userId="524f1fec-b848-4aa4-ad30-b433d0ef7cfd" providerId="ADAL" clId="{F0859668-BB13-444E-9498-EBDDB3C7F861}" dt="2025-05-02T02:27:40.051" v="2123"/>
          <ac:graphicFrameMkLst>
            <pc:docMk/>
            <pc:sldMk cId="2824732361" sldId="4489"/>
            <ac:graphicFrameMk id="7" creationId="{B78F41AE-0B4C-4CAC-7AC8-E4D2A5A35025}"/>
          </ac:graphicFrameMkLst>
        </pc:graphicFrameChg>
        <pc:picChg chg="mod ord">
          <ac:chgData name="Guarda Madriaza, Andres" userId="524f1fec-b848-4aa4-ad30-b433d0ef7cfd" providerId="ADAL" clId="{F0859668-BB13-444E-9498-EBDDB3C7F861}" dt="2025-05-02T02:27:40.051" v="2119"/>
          <ac:picMkLst>
            <pc:docMk/>
            <pc:sldMk cId="2824732361" sldId="4489"/>
            <ac:picMk id="2" creationId="{743BA1F8-7EC8-B61C-94C5-966914B6BD79}"/>
          </ac:picMkLst>
        </pc:picChg>
        <pc:picChg chg="mod ord">
          <ac:chgData name="Guarda Madriaza, Andres" userId="524f1fec-b848-4aa4-ad30-b433d0ef7cfd" providerId="ADAL" clId="{F0859668-BB13-444E-9498-EBDDB3C7F861}" dt="2025-05-02T02:37:32.367" v="2324"/>
          <ac:picMkLst>
            <pc:docMk/>
            <pc:sldMk cId="2824732361" sldId="4489"/>
            <ac:picMk id="17" creationId="{CDE5AA9E-302D-5B19-CA9E-1D4F12B58A82}"/>
          </ac:picMkLst>
        </pc:picChg>
        <pc:picChg chg="mod ord">
          <ac:chgData name="Guarda Madriaza, Andres" userId="524f1fec-b848-4aa4-ad30-b433d0ef7cfd" providerId="ADAL" clId="{F0859668-BB13-444E-9498-EBDDB3C7F861}" dt="2025-05-02T02:53:36.725" v="3397" actId="1035"/>
          <ac:picMkLst>
            <pc:docMk/>
            <pc:sldMk cId="2824732361" sldId="4489"/>
            <ac:picMk id="28" creationId="{5020D74B-C442-6BB5-929A-600C394704EA}"/>
          </ac:picMkLst>
        </pc:picChg>
        <pc:picChg chg="mod ord">
          <ac:chgData name="Guarda Madriaza, Andres" userId="524f1fec-b848-4aa4-ad30-b433d0ef7cfd" providerId="ADAL" clId="{F0859668-BB13-444E-9498-EBDDB3C7F861}" dt="2025-05-02T02:27:40.020" v="2087"/>
          <ac:picMkLst>
            <pc:docMk/>
            <pc:sldMk cId="2824732361" sldId="4489"/>
            <ac:picMk id="51" creationId="{4AA7C00E-581A-69BF-6765-95F9E18AFEC7}"/>
          </ac:picMkLst>
        </pc:picChg>
        <pc:picChg chg="mod ord">
          <ac:chgData name="Guarda Madriaza, Andres" userId="524f1fec-b848-4aa4-ad30-b433d0ef7cfd" providerId="ADAL" clId="{F0859668-BB13-444E-9498-EBDDB3C7F861}" dt="2025-05-02T02:27:40.020" v="2091"/>
          <ac:picMkLst>
            <pc:docMk/>
            <pc:sldMk cId="2824732361" sldId="4489"/>
            <ac:picMk id="74" creationId="{4BDB75F2-9453-6A6A-4625-0DF24EFD350E}"/>
          </ac:picMkLst>
        </pc:picChg>
        <pc:picChg chg="mod ord">
          <ac:chgData name="Guarda Madriaza, Andres" userId="524f1fec-b848-4aa4-ad30-b433d0ef7cfd" providerId="ADAL" clId="{F0859668-BB13-444E-9498-EBDDB3C7F861}" dt="2025-05-02T02:57:31.146" v="3557" actId="1035"/>
          <ac:picMkLst>
            <pc:docMk/>
            <pc:sldMk cId="2824732361" sldId="4489"/>
            <ac:picMk id="93" creationId="{E41BE717-1EED-F9B6-67BA-D625232F5541}"/>
          </ac:picMkLst>
        </pc:picChg>
        <pc:picChg chg="mod ord">
          <ac:chgData name="Guarda Madriaza, Andres" userId="524f1fec-b848-4aa4-ad30-b433d0ef7cfd" providerId="ADAL" clId="{F0859668-BB13-444E-9498-EBDDB3C7F861}" dt="2025-05-02T02:57:23.865" v="3556" actId="1036"/>
          <ac:picMkLst>
            <pc:docMk/>
            <pc:sldMk cId="2824732361" sldId="4489"/>
            <ac:picMk id="94" creationId="{7B159B20-774D-37B4-5CAC-8731F3DF254B}"/>
          </ac:picMkLst>
        </pc:picChg>
      </pc:sldChg>
      <pc:sldChg chg="addSp delSp modSp mod">
        <pc:chgData name="Guarda Madriaza, Andres" userId="524f1fec-b848-4aa4-ad30-b433d0ef7cfd" providerId="ADAL" clId="{F0859668-BB13-444E-9498-EBDDB3C7F861}" dt="2025-05-02T04:52:24.059" v="5315"/>
        <pc:sldMkLst>
          <pc:docMk/>
          <pc:sldMk cId="2125061091" sldId="4490"/>
        </pc:sldMkLst>
        <pc:spChg chg="mod">
          <ac:chgData name="Guarda Madriaza, Andres" userId="524f1fec-b848-4aa4-ad30-b433d0ef7cfd" providerId="ADAL" clId="{F0859668-BB13-444E-9498-EBDDB3C7F861}" dt="2025-05-02T02:53:04.290" v="3377" actId="1036"/>
          <ac:spMkLst>
            <pc:docMk/>
            <pc:sldMk cId="2125061091" sldId="4490"/>
            <ac:spMk id="3" creationId="{EB4552C0-83C9-32EA-78A5-BF5E7A4CA747}"/>
          </ac:spMkLst>
        </pc:spChg>
        <pc:spChg chg="mod">
          <ac:chgData name="Guarda Madriaza, Andres" userId="524f1fec-b848-4aa4-ad30-b433d0ef7cfd" providerId="ADAL" clId="{F0859668-BB13-444E-9498-EBDDB3C7F861}" dt="2025-05-02T02:27:24.466" v="2058"/>
          <ac:spMkLst>
            <pc:docMk/>
            <pc:sldMk cId="2125061091" sldId="4490"/>
            <ac:spMk id="4" creationId="{7E48156E-6A95-A64B-8520-CD11DA6C5EEF}"/>
          </ac:spMkLst>
        </pc:spChg>
        <pc:spChg chg="mod ord">
          <ac:chgData name="Guarda Madriaza, Andres" userId="524f1fec-b848-4aa4-ad30-b433d0ef7cfd" providerId="ADAL" clId="{F0859668-BB13-444E-9498-EBDDB3C7F861}" dt="2025-05-02T02:42:00.353" v="2706" actId="20577"/>
          <ac:spMkLst>
            <pc:docMk/>
            <pc:sldMk cId="2125061091" sldId="4490"/>
            <ac:spMk id="5" creationId="{61DC3275-B8D9-B5F5-040F-B12BE9DA1B5D}"/>
          </ac:spMkLst>
        </pc:spChg>
        <pc:spChg chg="mod ord">
          <ac:chgData name="Guarda Madriaza, Andres" userId="524f1fec-b848-4aa4-ad30-b433d0ef7cfd" providerId="ADAL" clId="{F0859668-BB13-444E-9498-EBDDB3C7F861}" dt="2025-05-02T02:58:18.391" v="3558" actId="14100"/>
          <ac:spMkLst>
            <pc:docMk/>
            <pc:sldMk cId="2125061091" sldId="4490"/>
            <ac:spMk id="6" creationId="{BF414253-9FCB-E108-A0A2-3C127AC2421F}"/>
          </ac:spMkLst>
        </pc:spChg>
        <pc:spChg chg="mod">
          <ac:chgData name="Guarda Madriaza, Andres" userId="524f1fec-b848-4aa4-ad30-b433d0ef7cfd" providerId="ADAL" clId="{F0859668-BB13-444E-9498-EBDDB3C7F861}" dt="2025-05-02T02:27:24.446" v="2047"/>
          <ac:spMkLst>
            <pc:docMk/>
            <pc:sldMk cId="2125061091" sldId="4490"/>
            <ac:spMk id="8" creationId="{9941D662-747A-0476-62DA-A304C4D9229B}"/>
          </ac:spMkLst>
        </pc:spChg>
        <pc:spChg chg="add mod ord">
          <ac:chgData name="Guarda Madriaza, Andres" userId="524f1fec-b848-4aa4-ad30-b433d0ef7cfd" providerId="ADAL" clId="{F0859668-BB13-444E-9498-EBDDB3C7F861}" dt="2025-05-02T02:27:30.818" v="2079" actId="1037"/>
          <ac:spMkLst>
            <pc:docMk/>
            <pc:sldMk cId="2125061091" sldId="4490"/>
            <ac:spMk id="10" creationId="{35EB8480-7490-230E-AE0C-D9EC6F0D8BAD}"/>
          </ac:spMkLst>
        </pc:spChg>
        <pc:spChg chg="add mod">
          <ac:chgData name="Guarda Madriaza, Andres" userId="524f1fec-b848-4aa4-ad30-b433d0ef7cfd" providerId="ADAL" clId="{F0859668-BB13-444E-9498-EBDDB3C7F861}" dt="2025-05-02T02:53:09.117" v="3378" actId="14100"/>
          <ac:spMkLst>
            <pc:docMk/>
            <pc:sldMk cId="2125061091" sldId="4490"/>
            <ac:spMk id="12" creationId="{CD0EDC96-5A83-A27F-AAA7-252E6792803C}"/>
          </ac:spMkLst>
        </pc:spChg>
        <pc:spChg chg="mod">
          <ac:chgData name="Guarda Madriaza, Andres" userId="524f1fec-b848-4aa4-ad30-b433d0ef7cfd" providerId="ADAL" clId="{F0859668-BB13-444E-9498-EBDDB3C7F861}" dt="2025-05-02T02:27:24.466" v="2059"/>
          <ac:spMkLst>
            <pc:docMk/>
            <pc:sldMk cId="2125061091" sldId="4490"/>
            <ac:spMk id="14" creationId="{7E48156E-6A95-A64B-8520-CD11DA6C5EEF}"/>
          </ac:spMkLst>
        </pc:spChg>
        <pc:spChg chg="mod">
          <ac:chgData name="Guarda Madriaza, Andres" userId="524f1fec-b848-4aa4-ad30-b433d0ef7cfd" providerId="ADAL" clId="{F0859668-BB13-444E-9498-EBDDB3C7F861}" dt="2025-05-02T03:01:53.031" v="3616" actId="20577"/>
          <ac:spMkLst>
            <pc:docMk/>
            <pc:sldMk cId="2125061091" sldId="4490"/>
            <ac:spMk id="18" creationId="{55B1767B-7A2F-3A6C-9215-692B682C48BE}"/>
          </ac:spMkLst>
        </pc:spChg>
        <pc:spChg chg="mod">
          <ac:chgData name="Guarda Madriaza, Andres" userId="524f1fec-b848-4aa4-ad30-b433d0ef7cfd" providerId="ADAL" clId="{F0859668-BB13-444E-9498-EBDDB3C7F861}" dt="2025-05-02T02:27:24.466" v="2060"/>
          <ac:spMkLst>
            <pc:docMk/>
            <pc:sldMk cId="2125061091" sldId="4490"/>
            <ac:spMk id="20" creationId="{7E48156E-6A95-A64B-8520-CD11DA6C5EEF}"/>
          </ac:spMkLst>
        </pc:spChg>
        <pc:spChg chg="mod">
          <ac:chgData name="Guarda Madriaza, Andres" userId="524f1fec-b848-4aa4-ad30-b433d0ef7cfd" providerId="ADAL" clId="{F0859668-BB13-444E-9498-EBDDB3C7F861}" dt="2025-05-02T02:27:24.466" v="2061"/>
          <ac:spMkLst>
            <pc:docMk/>
            <pc:sldMk cId="2125061091" sldId="4490"/>
            <ac:spMk id="21" creationId="{7E48156E-6A95-A64B-8520-CD11DA6C5EEF}"/>
          </ac:spMkLst>
        </pc:spChg>
        <pc:spChg chg="mod">
          <ac:chgData name="Guarda Madriaza, Andres" userId="524f1fec-b848-4aa4-ad30-b433d0ef7cfd" providerId="ADAL" clId="{F0859668-BB13-444E-9498-EBDDB3C7F861}" dt="2025-05-02T02:27:24.466" v="2062"/>
          <ac:spMkLst>
            <pc:docMk/>
            <pc:sldMk cId="2125061091" sldId="4490"/>
            <ac:spMk id="22" creationId="{7E48156E-6A95-A64B-8520-CD11DA6C5EEF}"/>
          </ac:spMkLst>
        </pc:spChg>
        <pc:spChg chg="mod">
          <ac:chgData name="Guarda Madriaza, Andres" userId="524f1fec-b848-4aa4-ad30-b433d0ef7cfd" providerId="ADAL" clId="{F0859668-BB13-444E-9498-EBDDB3C7F861}" dt="2025-05-02T02:27:24.466" v="2065"/>
          <ac:spMkLst>
            <pc:docMk/>
            <pc:sldMk cId="2125061091" sldId="4490"/>
            <ac:spMk id="26" creationId="{7E48156E-6A95-A64B-8520-CD11DA6C5EEF}"/>
          </ac:spMkLst>
        </pc:spChg>
        <pc:spChg chg="mod">
          <ac:chgData name="Guarda Madriaza, Andres" userId="524f1fec-b848-4aa4-ad30-b433d0ef7cfd" providerId="ADAL" clId="{F0859668-BB13-444E-9498-EBDDB3C7F861}" dt="2025-05-02T02:27:24.466" v="2066"/>
          <ac:spMkLst>
            <pc:docMk/>
            <pc:sldMk cId="2125061091" sldId="4490"/>
            <ac:spMk id="28" creationId="{7E48156E-6A95-A64B-8520-CD11DA6C5EEF}"/>
          </ac:spMkLst>
        </pc:spChg>
        <pc:spChg chg="mod">
          <ac:chgData name="Guarda Madriaza, Andres" userId="524f1fec-b848-4aa4-ad30-b433d0ef7cfd" providerId="ADAL" clId="{F0859668-BB13-444E-9498-EBDDB3C7F861}" dt="2025-05-02T02:27:24.466" v="2067"/>
          <ac:spMkLst>
            <pc:docMk/>
            <pc:sldMk cId="2125061091" sldId="4490"/>
            <ac:spMk id="29" creationId="{7E48156E-6A95-A64B-8520-CD11DA6C5EEF}"/>
          </ac:spMkLst>
        </pc:spChg>
        <pc:spChg chg="mod">
          <ac:chgData name="Guarda Madriaza, Andres" userId="524f1fec-b848-4aa4-ad30-b433d0ef7cfd" providerId="ADAL" clId="{F0859668-BB13-444E-9498-EBDDB3C7F861}" dt="2025-05-02T02:27:24.466" v="2068"/>
          <ac:spMkLst>
            <pc:docMk/>
            <pc:sldMk cId="2125061091" sldId="4490"/>
            <ac:spMk id="30" creationId="{7E48156E-6A95-A64B-8520-CD11DA6C5EEF}"/>
          </ac:spMkLst>
        </pc:spChg>
        <pc:spChg chg="mod">
          <ac:chgData name="Guarda Madriaza, Andres" userId="524f1fec-b848-4aa4-ad30-b433d0ef7cfd" providerId="ADAL" clId="{F0859668-BB13-444E-9498-EBDDB3C7F861}" dt="2025-05-02T02:27:24.466" v="2069"/>
          <ac:spMkLst>
            <pc:docMk/>
            <pc:sldMk cId="2125061091" sldId="4490"/>
            <ac:spMk id="31" creationId="{7E48156E-6A95-A64B-8520-CD11DA6C5EEF}"/>
          </ac:spMkLst>
        </pc:spChg>
        <pc:spChg chg="mod ord">
          <ac:chgData name="Guarda Madriaza, Andres" userId="524f1fec-b848-4aa4-ad30-b433d0ef7cfd" providerId="ADAL" clId="{F0859668-BB13-444E-9498-EBDDB3C7F861}" dt="2025-05-02T03:01:04.201" v="3603" actId="20577"/>
          <ac:spMkLst>
            <pc:docMk/>
            <pc:sldMk cId="2125061091" sldId="4490"/>
            <ac:spMk id="73" creationId="{9000E80C-7279-1C28-7A7B-9C69EC4760B8}"/>
          </ac:spMkLst>
        </pc:spChg>
        <pc:graphicFrameChg chg="mod">
          <ac:chgData name="Guarda Madriaza, Andres" userId="524f1fec-b848-4aa4-ad30-b433d0ef7cfd" providerId="ADAL" clId="{F0859668-BB13-444E-9498-EBDDB3C7F861}" dt="2025-05-02T02:27:24.466" v="2073"/>
          <ac:graphicFrameMkLst>
            <pc:docMk/>
            <pc:sldMk cId="2125061091" sldId="4490"/>
            <ac:graphicFrameMk id="7" creationId="{2142E86D-5042-A999-705F-BB951B1722C4}"/>
          </ac:graphicFrameMkLst>
        </pc:graphicFrameChg>
        <pc:picChg chg="mod ord">
          <ac:chgData name="Guarda Madriaza, Andres" userId="524f1fec-b848-4aa4-ad30-b433d0ef7cfd" providerId="ADAL" clId="{F0859668-BB13-444E-9498-EBDDB3C7F861}" dt="2025-05-02T02:53:04.290" v="3377" actId="1036"/>
          <ac:picMkLst>
            <pc:docMk/>
            <pc:sldMk cId="2125061091" sldId="4490"/>
            <ac:picMk id="2" creationId="{D92E8953-0688-E227-1724-44D3E915F246}"/>
          </ac:picMkLst>
        </pc:picChg>
        <pc:picChg chg="mod ord">
          <ac:chgData name="Guarda Madriaza, Andres" userId="524f1fec-b848-4aa4-ad30-b433d0ef7cfd" providerId="ADAL" clId="{F0859668-BB13-444E-9498-EBDDB3C7F861}" dt="2025-05-02T02:27:24.446" v="2049"/>
          <ac:picMkLst>
            <pc:docMk/>
            <pc:sldMk cId="2125061091" sldId="4490"/>
            <ac:picMk id="9" creationId="{22991B33-0F6E-A47C-F958-1EA57C721535}"/>
          </ac:picMkLst>
        </pc:picChg>
        <pc:picChg chg="mod ord">
          <ac:chgData name="Guarda Madriaza, Andres" userId="524f1fec-b848-4aa4-ad30-b433d0ef7cfd" providerId="ADAL" clId="{F0859668-BB13-444E-9498-EBDDB3C7F861}" dt="2025-05-02T02:38:25.691" v="2335" actId="1076"/>
          <ac:picMkLst>
            <pc:docMk/>
            <pc:sldMk cId="2125061091" sldId="4490"/>
            <ac:picMk id="17" creationId="{B85AAE45-5516-AF86-4D35-48E77B5A1DCD}"/>
          </ac:picMkLst>
        </pc:picChg>
        <pc:picChg chg="mod ord">
          <ac:chgData name="Guarda Madriaza, Andres" userId="524f1fec-b848-4aa4-ad30-b433d0ef7cfd" providerId="ADAL" clId="{F0859668-BB13-444E-9498-EBDDB3C7F861}" dt="2025-05-02T02:27:24.446" v="2038"/>
          <ac:picMkLst>
            <pc:docMk/>
            <pc:sldMk cId="2125061091" sldId="4490"/>
            <ac:picMk id="74" creationId="{471C136E-FB79-1F57-4F0E-DD2696D0991B}"/>
          </ac:picMkLst>
        </pc:picChg>
        <pc:picChg chg="mod ord">
          <ac:chgData name="Guarda Madriaza, Andres" userId="524f1fec-b848-4aa4-ad30-b433d0ef7cfd" providerId="ADAL" clId="{F0859668-BB13-444E-9498-EBDDB3C7F861}" dt="2025-05-02T02:59:47.360" v="3586" actId="1035"/>
          <ac:picMkLst>
            <pc:docMk/>
            <pc:sldMk cId="2125061091" sldId="4490"/>
            <ac:picMk id="75" creationId="{3EE01F89-0EAA-515B-953A-C4A90EEC8E30}"/>
          </ac:picMkLst>
        </pc:picChg>
        <pc:picChg chg="mod ord">
          <ac:chgData name="Guarda Madriaza, Andres" userId="524f1fec-b848-4aa4-ad30-b433d0ef7cfd" providerId="ADAL" clId="{F0859668-BB13-444E-9498-EBDDB3C7F861}" dt="2025-05-02T03:00:40.716" v="3598" actId="1036"/>
          <ac:picMkLst>
            <pc:docMk/>
            <pc:sldMk cId="2125061091" sldId="4490"/>
            <ac:picMk id="93" creationId="{1133B4E6-E29B-C5EC-6CA1-5AA88538E59B}"/>
          </ac:picMkLst>
        </pc:picChg>
        <pc:picChg chg="mod ord">
          <ac:chgData name="Guarda Madriaza, Andres" userId="524f1fec-b848-4aa4-ad30-b433d0ef7cfd" providerId="ADAL" clId="{F0859668-BB13-444E-9498-EBDDB3C7F861}" dt="2025-05-02T03:01:10.617" v="3609" actId="1036"/>
          <ac:picMkLst>
            <pc:docMk/>
            <pc:sldMk cId="2125061091" sldId="4490"/>
            <ac:picMk id="94" creationId="{278EDCDC-0114-3DDD-B79E-292C5C7A4B0C}"/>
          </ac:picMkLst>
        </pc:picChg>
      </pc:sldChg>
      <pc:sldChg chg="addSp delSp modSp mod">
        <pc:chgData name="Guarda Madriaza, Andres" userId="524f1fec-b848-4aa4-ad30-b433d0ef7cfd" providerId="ADAL" clId="{F0859668-BB13-444E-9498-EBDDB3C7F861}" dt="2025-05-02T15:56:03.727" v="5509" actId="1035"/>
        <pc:sldMkLst>
          <pc:docMk/>
          <pc:sldMk cId="1487440770" sldId="4491"/>
        </pc:sldMkLst>
        <pc:spChg chg="mod ord">
          <ac:chgData name="Guarda Madriaza, Andres" userId="524f1fec-b848-4aa4-ad30-b433d0ef7cfd" providerId="ADAL" clId="{F0859668-BB13-444E-9498-EBDDB3C7F861}" dt="2025-05-02T15:55:18.300" v="5430" actId="20577"/>
          <ac:spMkLst>
            <pc:docMk/>
            <pc:sldMk cId="1487440770" sldId="4491"/>
            <ac:spMk id="2" creationId="{AC31CF0C-F5C9-55FB-B7FE-56A979BB9F4F}"/>
          </ac:spMkLst>
        </pc:spChg>
        <pc:spChg chg="mod">
          <ac:chgData name="Guarda Madriaza, Andres" userId="524f1fec-b848-4aa4-ad30-b433d0ef7cfd" providerId="ADAL" clId="{F0859668-BB13-444E-9498-EBDDB3C7F861}" dt="2025-05-02T03:26:53.068" v="3662"/>
          <ac:spMkLst>
            <pc:docMk/>
            <pc:sldMk cId="1487440770" sldId="4491"/>
            <ac:spMk id="8" creationId="{08B006DB-8627-1C79-E070-93D5B2B994B2}"/>
          </ac:spMkLst>
        </pc:spChg>
        <pc:spChg chg="add mod ord">
          <ac:chgData name="Guarda Madriaza, Andres" userId="524f1fec-b848-4aa4-ad30-b433d0ef7cfd" providerId="ADAL" clId="{F0859668-BB13-444E-9498-EBDDB3C7F861}" dt="2025-05-02T03:26:53.053" v="3649"/>
          <ac:spMkLst>
            <pc:docMk/>
            <pc:sldMk cId="1487440770" sldId="4491"/>
            <ac:spMk id="10" creationId="{6B39C234-0FBE-19E7-E5FD-1A45F762B09A}"/>
          </ac:spMkLst>
        </pc:spChg>
        <pc:spChg chg="add mod">
          <ac:chgData name="Guarda Madriaza, Andres" userId="524f1fec-b848-4aa4-ad30-b433d0ef7cfd" providerId="ADAL" clId="{F0859668-BB13-444E-9498-EBDDB3C7F861}" dt="2025-05-02T03:26:53.085" v="3681"/>
          <ac:spMkLst>
            <pc:docMk/>
            <pc:sldMk cId="1487440770" sldId="4491"/>
            <ac:spMk id="12" creationId="{45B9942D-AB92-6A86-6C0D-2F02A550EC61}"/>
          </ac:spMkLst>
        </pc:spChg>
        <pc:spChg chg="add mod">
          <ac:chgData name="Guarda Madriaza, Andres" userId="524f1fec-b848-4aa4-ad30-b433d0ef7cfd" providerId="ADAL" clId="{F0859668-BB13-444E-9498-EBDDB3C7F861}" dt="2025-05-02T03:26:53.085" v="3682"/>
          <ac:spMkLst>
            <pc:docMk/>
            <pc:sldMk cId="1487440770" sldId="4491"/>
            <ac:spMk id="13" creationId="{D82F3C46-56B7-E92C-D58F-18DF6BECB175}"/>
          </ac:spMkLst>
        </pc:spChg>
        <pc:spChg chg="mod ord">
          <ac:chgData name="Guarda Madriaza, Andres" userId="524f1fec-b848-4aa4-ad30-b433d0ef7cfd" providerId="ADAL" clId="{F0859668-BB13-444E-9498-EBDDB3C7F861}" dt="2025-05-02T03:27:30.180" v="3690" actId="14100"/>
          <ac:spMkLst>
            <pc:docMk/>
            <pc:sldMk cId="1487440770" sldId="4491"/>
            <ac:spMk id="18" creationId="{8035E710-3277-BF78-97F7-CD5FEA0CFCFA}"/>
          </ac:spMkLst>
        </pc:spChg>
        <pc:spChg chg="add mod">
          <ac:chgData name="Guarda Madriaza, Andres" userId="524f1fec-b848-4aa4-ad30-b433d0ef7cfd" providerId="ADAL" clId="{F0859668-BB13-444E-9498-EBDDB3C7F861}" dt="2025-05-02T03:26:53.085" v="3685"/>
          <ac:spMkLst>
            <pc:docMk/>
            <pc:sldMk cId="1487440770" sldId="4491"/>
            <ac:spMk id="28" creationId="{23F588F5-3A1B-87E4-14E1-2BB3596CDEF6}"/>
          </ac:spMkLst>
        </pc:spChg>
        <pc:spChg chg="mod">
          <ac:chgData name="Guarda Madriaza, Andres" userId="524f1fec-b848-4aa4-ad30-b433d0ef7cfd" providerId="ADAL" clId="{F0859668-BB13-444E-9498-EBDDB3C7F861}" dt="2025-05-02T03:26:53.083" v="3665"/>
          <ac:spMkLst>
            <pc:docMk/>
            <pc:sldMk cId="1487440770" sldId="4491"/>
            <ac:spMk id="65" creationId="{7E48156E-6A95-A64B-8520-CD11DA6C5EEF}"/>
          </ac:spMkLst>
        </pc:spChg>
        <pc:spChg chg="mod">
          <ac:chgData name="Guarda Madriaza, Andres" userId="524f1fec-b848-4aa4-ad30-b433d0ef7cfd" providerId="ADAL" clId="{F0859668-BB13-444E-9498-EBDDB3C7F861}" dt="2025-05-02T03:26:53.083" v="3666"/>
          <ac:spMkLst>
            <pc:docMk/>
            <pc:sldMk cId="1487440770" sldId="4491"/>
            <ac:spMk id="67" creationId="{7E48156E-6A95-A64B-8520-CD11DA6C5EEF}"/>
          </ac:spMkLst>
        </pc:spChg>
        <pc:spChg chg="mod">
          <ac:chgData name="Guarda Madriaza, Andres" userId="524f1fec-b848-4aa4-ad30-b433d0ef7cfd" providerId="ADAL" clId="{F0859668-BB13-444E-9498-EBDDB3C7F861}" dt="2025-05-02T03:26:53.083" v="3667"/>
          <ac:spMkLst>
            <pc:docMk/>
            <pc:sldMk cId="1487440770" sldId="4491"/>
            <ac:spMk id="68" creationId="{7E48156E-6A95-A64B-8520-CD11DA6C5EEF}"/>
          </ac:spMkLst>
        </pc:spChg>
        <pc:spChg chg="mod">
          <ac:chgData name="Guarda Madriaza, Andres" userId="524f1fec-b848-4aa4-ad30-b433d0ef7cfd" providerId="ADAL" clId="{F0859668-BB13-444E-9498-EBDDB3C7F861}" dt="2025-05-02T03:26:53.085" v="3668"/>
          <ac:spMkLst>
            <pc:docMk/>
            <pc:sldMk cId="1487440770" sldId="4491"/>
            <ac:spMk id="69" creationId="{7E48156E-6A95-A64B-8520-CD11DA6C5EEF}"/>
          </ac:spMkLst>
        </pc:spChg>
        <pc:spChg chg="mod">
          <ac:chgData name="Guarda Madriaza, Andres" userId="524f1fec-b848-4aa4-ad30-b433d0ef7cfd" providerId="ADAL" clId="{F0859668-BB13-444E-9498-EBDDB3C7F861}" dt="2025-05-02T03:26:53.085" v="3669"/>
          <ac:spMkLst>
            <pc:docMk/>
            <pc:sldMk cId="1487440770" sldId="4491"/>
            <ac:spMk id="70" creationId="{7E48156E-6A95-A64B-8520-CD11DA6C5EEF}"/>
          </ac:spMkLst>
        </pc:spChg>
        <pc:spChg chg="mod ord">
          <ac:chgData name="Guarda Madriaza, Andres" userId="524f1fec-b848-4aa4-ad30-b433d0ef7cfd" providerId="ADAL" clId="{F0859668-BB13-444E-9498-EBDDB3C7F861}" dt="2025-05-02T15:55:56.125" v="5496" actId="20577"/>
          <ac:spMkLst>
            <pc:docMk/>
            <pc:sldMk cId="1487440770" sldId="4491"/>
            <ac:spMk id="73" creationId="{16197363-1139-32D2-8E00-C9717C1176F5}"/>
          </ac:spMkLst>
        </pc:spChg>
        <pc:spChg chg="mod">
          <ac:chgData name="Guarda Madriaza, Andres" userId="524f1fec-b848-4aa4-ad30-b433d0ef7cfd" providerId="ADAL" clId="{F0859668-BB13-444E-9498-EBDDB3C7F861}" dt="2025-05-02T03:26:53.085" v="3672"/>
          <ac:spMkLst>
            <pc:docMk/>
            <pc:sldMk cId="1487440770" sldId="4491"/>
            <ac:spMk id="79" creationId="{7E48156E-6A95-A64B-8520-CD11DA6C5EEF}"/>
          </ac:spMkLst>
        </pc:spChg>
        <pc:spChg chg="mod">
          <ac:chgData name="Guarda Madriaza, Andres" userId="524f1fec-b848-4aa4-ad30-b433d0ef7cfd" providerId="ADAL" clId="{F0859668-BB13-444E-9498-EBDDB3C7F861}" dt="2025-05-02T03:26:53.085" v="3673"/>
          <ac:spMkLst>
            <pc:docMk/>
            <pc:sldMk cId="1487440770" sldId="4491"/>
            <ac:spMk id="81" creationId="{7E48156E-6A95-A64B-8520-CD11DA6C5EEF}"/>
          </ac:spMkLst>
        </pc:spChg>
        <pc:spChg chg="mod">
          <ac:chgData name="Guarda Madriaza, Andres" userId="524f1fec-b848-4aa4-ad30-b433d0ef7cfd" providerId="ADAL" clId="{F0859668-BB13-444E-9498-EBDDB3C7F861}" dt="2025-05-02T03:26:53.085" v="3674"/>
          <ac:spMkLst>
            <pc:docMk/>
            <pc:sldMk cId="1487440770" sldId="4491"/>
            <ac:spMk id="82" creationId="{7E48156E-6A95-A64B-8520-CD11DA6C5EEF}"/>
          </ac:spMkLst>
        </pc:spChg>
        <pc:spChg chg="mod">
          <ac:chgData name="Guarda Madriaza, Andres" userId="524f1fec-b848-4aa4-ad30-b433d0ef7cfd" providerId="ADAL" clId="{F0859668-BB13-444E-9498-EBDDB3C7F861}" dt="2025-05-02T03:26:53.085" v="3675"/>
          <ac:spMkLst>
            <pc:docMk/>
            <pc:sldMk cId="1487440770" sldId="4491"/>
            <ac:spMk id="83" creationId="{7E48156E-6A95-A64B-8520-CD11DA6C5EEF}"/>
          </ac:spMkLst>
        </pc:spChg>
        <pc:spChg chg="mod">
          <ac:chgData name="Guarda Madriaza, Andres" userId="524f1fec-b848-4aa4-ad30-b433d0ef7cfd" providerId="ADAL" clId="{F0859668-BB13-444E-9498-EBDDB3C7F861}" dt="2025-05-02T03:26:53.085" v="3676"/>
          <ac:spMkLst>
            <pc:docMk/>
            <pc:sldMk cId="1487440770" sldId="4491"/>
            <ac:spMk id="84" creationId="{7E48156E-6A95-A64B-8520-CD11DA6C5EEF}"/>
          </ac:spMkLst>
        </pc:spChg>
        <pc:graphicFrameChg chg="mod">
          <ac:chgData name="Guarda Madriaza, Andres" userId="524f1fec-b848-4aa4-ad30-b433d0ef7cfd" providerId="ADAL" clId="{F0859668-BB13-444E-9498-EBDDB3C7F861}" dt="2025-05-02T03:26:53.085" v="3687"/>
          <ac:graphicFrameMkLst>
            <pc:docMk/>
            <pc:sldMk cId="1487440770" sldId="4491"/>
            <ac:graphicFrameMk id="7" creationId="{09519310-A3B5-0B0E-3D8D-BD12CB6BC32C}"/>
          </ac:graphicFrameMkLst>
        </pc:graphicFrameChg>
        <pc:picChg chg="mod ord">
          <ac:chgData name="Guarda Madriaza, Andres" userId="524f1fec-b848-4aa4-ad30-b433d0ef7cfd" providerId="ADAL" clId="{F0859668-BB13-444E-9498-EBDDB3C7F861}" dt="2025-05-02T03:26:53.068" v="3651"/>
          <ac:picMkLst>
            <pc:docMk/>
            <pc:sldMk cId="1487440770" sldId="4491"/>
            <ac:picMk id="4" creationId="{D37E305E-516B-5628-C6B2-87C04A81DA4F}"/>
          </ac:picMkLst>
        </pc:picChg>
        <pc:picChg chg="add mod ord">
          <ac:chgData name="Guarda Madriaza, Andres" userId="524f1fec-b848-4aa4-ad30-b433d0ef7cfd" providerId="ADAL" clId="{F0859668-BB13-444E-9498-EBDDB3C7F861}" dt="2025-05-02T03:26:53.085" v="3680"/>
          <ac:picMkLst>
            <pc:docMk/>
            <pc:sldMk cId="1487440770" sldId="4491"/>
            <ac:picMk id="11" creationId="{24595E99-E83B-1D64-6DEF-99D0AF76A691}"/>
          </ac:picMkLst>
        </pc:picChg>
        <pc:picChg chg="add mod ord">
          <ac:chgData name="Guarda Madriaza, Andres" userId="524f1fec-b848-4aa4-ad30-b433d0ef7cfd" providerId="ADAL" clId="{F0859668-BB13-444E-9498-EBDDB3C7F861}" dt="2025-05-02T03:26:53.085" v="3684"/>
          <ac:picMkLst>
            <pc:docMk/>
            <pc:sldMk cId="1487440770" sldId="4491"/>
            <ac:picMk id="27" creationId="{CA61CBEA-B7AB-B572-49F6-AA2405A3C185}"/>
          </ac:picMkLst>
        </pc:picChg>
        <pc:picChg chg="mod ord">
          <ac:chgData name="Guarda Madriaza, Andres" userId="524f1fec-b848-4aa4-ad30-b433d0ef7cfd" providerId="ADAL" clId="{F0859668-BB13-444E-9498-EBDDB3C7F861}" dt="2025-05-02T03:26:53.068" v="3655"/>
          <ac:picMkLst>
            <pc:docMk/>
            <pc:sldMk cId="1487440770" sldId="4491"/>
            <ac:picMk id="74" creationId="{F0E66704-FF7B-4255-C512-042341EC1501}"/>
          </ac:picMkLst>
        </pc:picChg>
        <pc:picChg chg="mod ord">
          <ac:chgData name="Guarda Madriaza, Andres" userId="524f1fec-b848-4aa4-ad30-b433d0ef7cfd" providerId="ADAL" clId="{F0859668-BB13-444E-9498-EBDDB3C7F861}" dt="2025-05-02T03:26:53.068" v="3657"/>
          <ac:picMkLst>
            <pc:docMk/>
            <pc:sldMk cId="1487440770" sldId="4491"/>
            <ac:picMk id="75" creationId="{12DA33B0-2DF0-C92C-116C-600561AD050D}"/>
          </ac:picMkLst>
        </pc:picChg>
        <pc:picChg chg="mod ord">
          <ac:chgData name="Guarda Madriaza, Andres" userId="524f1fec-b848-4aa4-ad30-b433d0ef7cfd" providerId="ADAL" clId="{F0859668-BB13-444E-9498-EBDDB3C7F861}" dt="2025-05-02T15:56:03.727" v="5509" actId="1035"/>
          <ac:picMkLst>
            <pc:docMk/>
            <pc:sldMk cId="1487440770" sldId="4491"/>
            <ac:picMk id="90" creationId="{26E2F729-8346-B707-9945-69C0E819685A}"/>
          </ac:picMkLst>
        </pc:picChg>
        <pc:picChg chg="mod ord">
          <ac:chgData name="Guarda Madriaza, Andres" userId="524f1fec-b848-4aa4-ad30-b433d0ef7cfd" providerId="ADAL" clId="{F0859668-BB13-444E-9498-EBDDB3C7F861}" dt="2025-05-02T03:27:48.186" v="3705" actId="1035"/>
          <ac:picMkLst>
            <pc:docMk/>
            <pc:sldMk cId="1487440770" sldId="4491"/>
            <ac:picMk id="94" creationId="{A0D88AF8-6B32-A2C0-B1E7-D2ED47476318}"/>
          </ac:picMkLst>
        </pc:picChg>
      </pc:sldChg>
      <pc:sldChg chg="addSp delSp modSp mod ord">
        <pc:chgData name="Guarda Madriaza, Andres" userId="524f1fec-b848-4aa4-ad30-b433d0ef7cfd" providerId="ADAL" clId="{F0859668-BB13-444E-9498-EBDDB3C7F861}" dt="2025-05-02T04:25:27.078" v="4980" actId="20577"/>
        <pc:sldMkLst>
          <pc:docMk/>
          <pc:sldMk cId="3588734151" sldId="4492"/>
        </pc:sldMkLst>
        <pc:spChg chg="mod ord">
          <ac:chgData name="Guarda Madriaza, Andres" userId="524f1fec-b848-4aa4-ad30-b433d0ef7cfd" providerId="ADAL" clId="{F0859668-BB13-444E-9498-EBDDB3C7F861}" dt="2025-05-02T04:25:27.078" v="4980" actId="20577"/>
          <ac:spMkLst>
            <pc:docMk/>
            <pc:sldMk cId="3588734151" sldId="4492"/>
            <ac:spMk id="3" creationId="{3ECA1541-688F-B5E7-50D7-72919A285BA4}"/>
          </ac:spMkLst>
        </pc:spChg>
        <pc:spChg chg="mod">
          <ac:chgData name="Guarda Madriaza, Andres" userId="524f1fec-b848-4aa4-ad30-b433d0ef7cfd" providerId="ADAL" clId="{F0859668-BB13-444E-9498-EBDDB3C7F861}" dt="2025-05-02T04:05:11.236" v="4461"/>
          <ac:spMkLst>
            <pc:docMk/>
            <pc:sldMk cId="3588734151" sldId="4492"/>
            <ac:spMk id="18" creationId="{1C9608CD-B63B-97F5-5CD7-110FE888B541}"/>
          </ac:spMkLst>
        </pc:spChg>
        <pc:spChg chg="mod">
          <ac:chgData name="Guarda Madriaza, Andres" userId="524f1fec-b848-4aa4-ad30-b433d0ef7cfd" providerId="ADAL" clId="{F0859668-BB13-444E-9498-EBDDB3C7F861}" dt="2025-05-02T04:05:11.236" v="4444"/>
          <ac:spMkLst>
            <pc:docMk/>
            <pc:sldMk cId="3588734151" sldId="4492"/>
            <ac:spMk id="19" creationId="{6FB274BF-95B4-08E3-CB2A-D2202F6AE7E7}"/>
          </ac:spMkLst>
        </pc:spChg>
        <pc:spChg chg="mod">
          <ac:chgData name="Guarda Madriaza, Andres" userId="524f1fec-b848-4aa4-ad30-b433d0ef7cfd" providerId="ADAL" clId="{F0859668-BB13-444E-9498-EBDDB3C7F861}" dt="2025-05-02T04:05:11.236" v="4445"/>
          <ac:spMkLst>
            <pc:docMk/>
            <pc:sldMk cId="3588734151" sldId="4492"/>
            <ac:spMk id="20" creationId="{576AB23E-2E28-E89A-2817-FE655EFD8D94}"/>
          </ac:spMkLst>
        </pc:spChg>
        <pc:spChg chg="mod ord">
          <ac:chgData name="Guarda Madriaza, Andres" userId="524f1fec-b848-4aa4-ad30-b433d0ef7cfd" providerId="ADAL" clId="{F0859668-BB13-444E-9498-EBDDB3C7F861}" dt="2025-05-02T04:05:11.236" v="4447"/>
          <ac:spMkLst>
            <pc:docMk/>
            <pc:sldMk cId="3588734151" sldId="4492"/>
            <ac:spMk id="21" creationId="{1833C855-E43A-B583-8AFD-ED8D3A5DF379}"/>
          </ac:spMkLst>
        </pc:spChg>
        <pc:spChg chg="mod">
          <ac:chgData name="Guarda Madriaza, Andres" userId="524f1fec-b848-4aa4-ad30-b433d0ef7cfd" providerId="ADAL" clId="{F0859668-BB13-444E-9498-EBDDB3C7F861}" dt="2025-05-02T04:05:11.236" v="4448"/>
          <ac:spMkLst>
            <pc:docMk/>
            <pc:sldMk cId="3588734151" sldId="4492"/>
            <ac:spMk id="22" creationId="{7E965BC1-D0E8-F348-D370-0927DE0C51A7}"/>
          </ac:spMkLst>
        </pc:spChg>
        <pc:spChg chg="mod">
          <ac:chgData name="Guarda Madriaza, Andres" userId="524f1fec-b848-4aa4-ad30-b433d0ef7cfd" providerId="ADAL" clId="{F0859668-BB13-444E-9498-EBDDB3C7F861}" dt="2025-05-02T04:05:11.236" v="4451"/>
          <ac:spMkLst>
            <pc:docMk/>
            <pc:sldMk cId="3588734151" sldId="4492"/>
            <ac:spMk id="23" creationId="{328BE3A9-CCA5-3A57-83E6-CE390B3FFA2C}"/>
          </ac:spMkLst>
        </pc:spChg>
        <pc:spChg chg="mod ord">
          <ac:chgData name="Guarda Madriaza, Andres" userId="524f1fec-b848-4aa4-ad30-b433d0ef7cfd" providerId="ADAL" clId="{F0859668-BB13-444E-9498-EBDDB3C7F861}" dt="2025-05-02T04:05:11.236" v="4453"/>
          <ac:spMkLst>
            <pc:docMk/>
            <pc:sldMk cId="3588734151" sldId="4492"/>
            <ac:spMk id="24" creationId="{48578A17-ED80-12C7-81D5-95C14AABDDD4}"/>
          </ac:spMkLst>
        </pc:spChg>
        <pc:spChg chg="mod">
          <ac:chgData name="Guarda Madriaza, Andres" userId="524f1fec-b848-4aa4-ad30-b433d0ef7cfd" providerId="ADAL" clId="{F0859668-BB13-444E-9498-EBDDB3C7F861}" dt="2025-05-02T04:05:11.236" v="4454"/>
          <ac:spMkLst>
            <pc:docMk/>
            <pc:sldMk cId="3588734151" sldId="4492"/>
            <ac:spMk id="25" creationId="{9D3BED3E-A668-AACF-4176-AE7D63F5779D}"/>
          </ac:spMkLst>
        </pc:spChg>
        <pc:spChg chg="mod">
          <ac:chgData name="Guarda Madriaza, Andres" userId="524f1fec-b848-4aa4-ad30-b433d0ef7cfd" providerId="ADAL" clId="{F0859668-BB13-444E-9498-EBDDB3C7F861}" dt="2025-05-02T04:05:11.236" v="4458"/>
          <ac:spMkLst>
            <pc:docMk/>
            <pc:sldMk cId="3588734151" sldId="4492"/>
            <ac:spMk id="26" creationId="{3731F9F4-3C79-40EF-3B12-4D9D9A4FA7DC}"/>
          </ac:spMkLst>
        </pc:spChg>
        <pc:spChg chg="mod">
          <ac:chgData name="Guarda Madriaza, Andres" userId="524f1fec-b848-4aa4-ad30-b433d0ef7cfd" providerId="ADAL" clId="{F0859668-BB13-444E-9498-EBDDB3C7F861}" dt="2025-05-02T04:05:11.236" v="4457"/>
          <ac:spMkLst>
            <pc:docMk/>
            <pc:sldMk cId="3588734151" sldId="4492"/>
            <ac:spMk id="27" creationId="{CE5285EA-5A2E-56F6-7E55-E4C443E0A6CE}"/>
          </ac:spMkLst>
        </pc:spChg>
        <pc:spChg chg="mod">
          <ac:chgData name="Guarda Madriaza, Andres" userId="524f1fec-b848-4aa4-ad30-b433d0ef7cfd" providerId="ADAL" clId="{F0859668-BB13-444E-9498-EBDDB3C7F861}" dt="2025-05-02T04:05:11.236" v="4462"/>
          <ac:spMkLst>
            <pc:docMk/>
            <pc:sldMk cId="3588734151" sldId="4492"/>
            <ac:spMk id="34" creationId="{4437F47D-DF4B-6736-BD79-86428FDFCBDA}"/>
          </ac:spMkLst>
        </pc:spChg>
        <pc:spChg chg="mod ord">
          <ac:chgData name="Guarda Madriaza, Andres" userId="524f1fec-b848-4aa4-ad30-b433d0ef7cfd" providerId="ADAL" clId="{F0859668-BB13-444E-9498-EBDDB3C7F861}" dt="2025-05-02T04:05:11.190" v="4405"/>
          <ac:spMkLst>
            <pc:docMk/>
            <pc:sldMk cId="3588734151" sldId="4492"/>
            <ac:spMk id="38" creationId="{5888C14E-C847-3D89-E700-B72718512160}"/>
          </ac:spMkLst>
        </pc:spChg>
        <pc:spChg chg="mod ord">
          <ac:chgData name="Guarda Madriaza, Andres" userId="524f1fec-b848-4aa4-ad30-b433d0ef7cfd" providerId="ADAL" clId="{F0859668-BB13-444E-9498-EBDDB3C7F861}" dt="2025-05-02T04:22:57.894" v="4852" actId="20577"/>
          <ac:spMkLst>
            <pc:docMk/>
            <pc:sldMk cId="3588734151" sldId="4492"/>
            <ac:spMk id="39" creationId="{C5C632ED-F0C9-5F91-6E50-42894B45EE59}"/>
          </ac:spMkLst>
        </pc:spChg>
        <pc:spChg chg="mod ord">
          <ac:chgData name="Guarda Madriaza, Andres" userId="524f1fec-b848-4aa4-ad30-b433d0ef7cfd" providerId="ADAL" clId="{F0859668-BB13-444E-9498-EBDDB3C7F861}" dt="2025-05-02T04:05:11.252" v="4466"/>
          <ac:spMkLst>
            <pc:docMk/>
            <pc:sldMk cId="3588734151" sldId="4492"/>
            <ac:spMk id="40" creationId="{5CD10536-702D-8D36-2990-900D938B40F7}"/>
          </ac:spMkLst>
        </pc:spChg>
        <pc:spChg chg="mod ord">
          <ac:chgData name="Guarda Madriaza, Andres" userId="524f1fec-b848-4aa4-ad30-b433d0ef7cfd" providerId="ADAL" clId="{F0859668-BB13-444E-9498-EBDDB3C7F861}" dt="2025-05-02T04:05:11.236" v="4456"/>
          <ac:spMkLst>
            <pc:docMk/>
            <pc:sldMk cId="3588734151" sldId="4492"/>
            <ac:spMk id="41" creationId="{7E48156E-6A95-A64B-8520-CD11DA6C5EEF}"/>
          </ac:spMkLst>
        </pc:spChg>
        <pc:spChg chg="mod ord">
          <ac:chgData name="Guarda Madriaza, Andres" userId="524f1fec-b848-4aa4-ad30-b433d0ef7cfd" providerId="ADAL" clId="{F0859668-BB13-444E-9498-EBDDB3C7F861}" dt="2025-05-02T04:05:11.252" v="4468"/>
          <ac:spMkLst>
            <pc:docMk/>
            <pc:sldMk cId="3588734151" sldId="4492"/>
            <ac:spMk id="44" creationId="{1B7B0060-1FD7-E355-E75A-929F86A31B7E}"/>
          </ac:spMkLst>
        </pc:spChg>
        <pc:spChg chg="mod ord">
          <ac:chgData name="Guarda Madriaza, Andres" userId="524f1fec-b848-4aa4-ad30-b433d0ef7cfd" providerId="ADAL" clId="{F0859668-BB13-444E-9498-EBDDB3C7F861}" dt="2025-05-02T04:05:11.252" v="4470"/>
          <ac:spMkLst>
            <pc:docMk/>
            <pc:sldMk cId="3588734151" sldId="4492"/>
            <ac:spMk id="48" creationId="{F7E27F8D-9E9F-34FC-FAED-6DEC59F7549F}"/>
          </ac:spMkLst>
        </pc:spChg>
        <pc:spChg chg="mod ord">
          <ac:chgData name="Guarda Madriaza, Andres" userId="524f1fec-b848-4aa4-ad30-b433d0ef7cfd" providerId="ADAL" clId="{F0859668-BB13-444E-9498-EBDDB3C7F861}" dt="2025-05-02T04:05:11.236" v="4450"/>
          <ac:spMkLst>
            <pc:docMk/>
            <pc:sldMk cId="3588734151" sldId="4492"/>
            <ac:spMk id="54" creationId="{7E48156E-6A95-A64B-8520-CD11DA6C5EEF}"/>
          </ac:spMkLst>
        </pc:spChg>
        <pc:spChg chg="mod ord">
          <ac:chgData name="Guarda Madriaza, Andres" userId="524f1fec-b848-4aa4-ad30-b433d0ef7cfd" providerId="ADAL" clId="{F0859668-BB13-444E-9498-EBDDB3C7F861}" dt="2025-05-02T04:05:11.205" v="4421"/>
          <ac:spMkLst>
            <pc:docMk/>
            <pc:sldMk cId="3588734151" sldId="4492"/>
            <ac:spMk id="55" creationId="{619D340A-A5BA-4DF7-63CF-5AEE6F7C42F6}"/>
          </ac:spMkLst>
        </pc:spChg>
        <pc:spChg chg="mod">
          <ac:chgData name="Guarda Madriaza, Andres" userId="524f1fec-b848-4aa4-ad30-b433d0ef7cfd" providerId="ADAL" clId="{F0859668-BB13-444E-9498-EBDDB3C7F861}" dt="2025-05-02T04:05:11.236" v="4459"/>
          <ac:spMkLst>
            <pc:docMk/>
            <pc:sldMk cId="3588734151" sldId="4492"/>
            <ac:spMk id="63" creationId="{7E48156E-6A95-A64B-8520-CD11DA6C5EEF}"/>
          </ac:spMkLst>
        </pc:spChg>
        <pc:spChg chg="mod">
          <ac:chgData name="Guarda Madriaza, Andres" userId="524f1fec-b848-4aa4-ad30-b433d0ef7cfd" providerId="ADAL" clId="{F0859668-BB13-444E-9498-EBDDB3C7F861}" dt="2025-05-02T04:05:11.236" v="4460"/>
          <ac:spMkLst>
            <pc:docMk/>
            <pc:sldMk cId="3588734151" sldId="4492"/>
            <ac:spMk id="65" creationId="{7E48156E-6A95-A64B-8520-CD11DA6C5EEF}"/>
          </ac:spMkLst>
        </pc:spChg>
        <pc:graphicFrameChg chg="mod">
          <ac:chgData name="Guarda Madriaza, Andres" userId="524f1fec-b848-4aa4-ad30-b433d0ef7cfd" providerId="ADAL" clId="{F0859668-BB13-444E-9498-EBDDB3C7F861}" dt="2025-05-02T04:05:11.252" v="4476"/>
          <ac:graphicFrameMkLst>
            <pc:docMk/>
            <pc:sldMk cId="3588734151" sldId="4492"/>
            <ac:graphicFrameMk id="7" creationId="{FC72A999-046F-48D0-9C93-361ADD5CEE45}"/>
          </ac:graphicFrameMkLst>
        </pc:graphicFrameChg>
        <pc:cxnChg chg="mod ord">
          <ac:chgData name="Guarda Madriaza, Andres" userId="524f1fec-b848-4aa4-ad30-b433d0ef7cfd" providerId="ADAL" clId="{F0859668-BB13-444E-9498-EBDDB3C7F861}" dt="2025-05-02T04:05:11.190" v="4407"/>
          <ac:cxnSpMkLst>
            <pc:docMk/>
            <pc:sldMk cId="3588734151" sldId="4492"/>
            <ac:cxnSpMk id="4" creationId="{417F008D-F280-0036-21A0-5C8A3B95DD8C}"/>
          </ac:cxnSpMkLst>
        </pc:cxnChg>
        <pc:cxnChg chg="mod ord">
          <ac:chgData name="Guarda Madriaza, Andres" userId="524f1fec-b848-4aa4-ad30-b433d0ef7cfd" providerId="ADAL" clId="{F0859668-BB13-444E-9498-EBDDB3C7F861}" dt="2025-05-02T04:05:11.190" v="4413"/>
          <ac:cxnSpMkLst>
            <pc:docMk/>
            <pc:sldMk cId="3588734151" sldId="4492"/>
            <ac:cxnSpMk id="5" creationId="{231FD766-2D94-82C5-0FB2-80E0CFADB14D}"/>
          </ac:cxnSpMkLst>
        </pc:cxnChg>
        <pc:cxnChg chg="mod ord">
          <ac:chgData name="Guarda Madriaza, Andres" userId="524f1fec-b848-4aa4-ad30-b433d0ef7cfd" providerId="ADAL" clId="{F0859668-BB13-444E-9498-EBDDB3C7F861}" dt="2025-05-02T04:05:11.190" v="4411"/>
          <ac:cxnSpMkLst>
            <pc:docMk/>
            <pc:sldMk cId="3588734151" sldId="4492"/>
            <ac:cxnSpMk id="6" creationId="{463F4CCC-CAA0-E3A4-630D-DC54D92DFED2}"/>
          </ac:cxnSpMkLst>
        </pc:cxnChg>
        <pc:cxnChg chg="mod ord">
          <ac:chgData name="Guarda Madriaza, Andres" userId="524f1fec-b848-4aa4-ad30-b433d0ef7cfd" providerId="ADAL" clId="{F0859668-BB13-444E-9498-EBDDB3C7F861}" dt="2025-05-02T04:05:11.190" v="4409"/>
          <ac:cxnSpMkLst>
            <pc:docMk/>
            <pc:sldMk cId="3588734151" sldId="4492"/>
            <ac:cxnSpMk id="8" creationId="{89753DCC-F744-98D8-8D90-B999AC9EE64F}"/>
          </ac:cxnSpMkLst>
        </pc:cxnChg>
        <pc:cxnChg chg="mod ord">
          <ac:chgData name="Guarda Madriaza, Andres" userId="524f1fec-b848-4aa4-ad30-b433d0ef7cfd" providerId="ADAL" clId="{F0859668-BB13-444E-9498-EBDDB3C7F861}" dt="2025-05-02T04:05:11.205" v="4419"/>
          <ac:cxnSpMkLst>
            <pc:docMk/>
            <pc:sldMk cId="3588734151" sldId="4492"/>
            <ac:cxnSpMk id="9" creationId="{CD832CF7-1EC7-23F9-947B-8D31604EEC84}"/>
          </ac:cxnSpMkLst>
        </pc:cxnChg>
        <pc:cxnChg chg="mod ord">
          <ac:chgData name="Guarda Madriaza, Andres" userId="524f1fec-b848-4aa4-ad30-b433d0ef7cfd" providerId="ADAL" clId="{F0859668-BB13-444E-9498-EBDDB3C7F861}" dt="2025-05-02T04:05:11.190" v="4417"/>
          <ac:cxnSpMkLst>
            <pc:docMk/>
            <pc:sldMk cId="3588734151" sldId="4492"/>
            <ac:cxnSpMk id="10" creationId="{51A60A02-D179-99E9-7C14-483DD737EDF1}"/>
          </ac:cxnSpMkLst>
        </pc:cxnChg>
        <pc:cxnChg chg="mod ord">
          <ac:chgData name="Guarda Madriaza, Andres" userId="524f1fec-b848-4aa4-ad30-b433d0ef7cfd" providerId="ADAL" clId="{F0859668-BB13-444E-9498-EBDDB3C7F861}" dt="2025-05-02T04:05:11.190" v="4415"/>
          <ac:cxnSpMkLst>
            <pc:docMk/>
            <pc:sldMk cId="3588734151" sldId="4492"/>
            <ac:cxnSpMk id="11" creationId="{7B514076-6C32-89CA-38F7-5F6AE26E348F}"/>
          </ac:cxnSpMkLst>
        </pc:cxnChg>
        <pc:cxnChg chg="mod ord">
          <ac:chgData name="Guarda Madriaza, Andres" userId="524f1fec-b848-4aa4-ad30-b433d0ef7cfd" providerId="ADAL" clId="{F0859668-BB13-444E-9498-EBDDB3C7F861}" dt="2025-05-02T04:05:11.221" v="4441"/>
          <ac:cxnSpMkLst>
            <pc:docMk/>
            <pc:sldMk cId="3588734151" sldId="4492"/>
            <ac:cxnSpMk id="15" creationId="{19A9279C-F005-7E6C-4445-3B37E91A2F67}"/>
          </ac:cxnSpMkLst>
        </pc:cxnChg>
        <pc:cxnChg chg="mod ord">
          <ac:chgData name="Guarda Madriaza, Andres" userId="524f1fec-b848-4aa4-ad30-b433d0ef7cfd" providerId="ADAL" clId="{F0859668-BB13-444E-9498-EBDDB3C7F861}" dt="2025-05-02T04:05:11.221" v="4439"/>
          <ac:cxnSpMkLst>
            <pc:docMk/>
            <pc:sldMk cId="3588734151" sldId="4492"/>
            <ac:cxnSpMk id="16" creationId="{A97EF869-80A5-97B1-14D9-05CF82129913}"/>
          </ac:cxnSpMkLst>
        </pc:cxnChg>
        <pc:cxnChg chg="mod ord">
          <ac:chgData name="Guarda Madriaza, Andres" userId="524f1fec-b848-4aa4-ad30-b433d0ef7cfd" providerId="ADAL" clId="{F0859668-BB13-444E-9498-EBDDB3C7F861}" dt="2025-05-02T04:05:11.221" v="4437"/>
          <ac:cxnSpMkLst>
            <pc:docMk/>
            <pc:sldMk cId="3588734151" sldId="4492"/>
            <ac:cxnSpMk id="17" creationId="{21884691-9A81-ABA6-77EE-D4BBD3BA8F68}"/>
          </ac:cxnSpMkLst>
        </pc:cxnChg>
        <pc:cxnChg chg="add mod ord">
          <ac:chgData name="Guarda Madriaza, Andres" userId="524f1fec-b848-4aa4-ad30-b433d0ef7cfd" providerId="ADAL" clId="{F0859668-BB13-444E-9498-EBDDB3C7F861}" dt="2025-05-02T04:05:11.221" v="4443"/>
          <ac:cxnSpMkLst>
            <pc:docMk/>
            <pc:sldMk cId="3588734151" sldId="4492"/>
            <ac:cxnSpMk id="32" creationId="{1CBFF966-AB86-838E-07DF-ADF45F217682}"/>
          </ac:cxnSpMkLst>
        </pc:cxnChg>
      </pc:sldChg>
      <pc:sldChg chg="addSp delSp modSp mod">
        <pc:chgData name="Guarda Madriaza, Andres" userId="524f1fec-b848-4aa4-ad30-b433d0ef7cfd" providerId="ADAL" clId="{F0859668-BB13-444E-9498-EBDDB3C7F861}" dt="2025-05-02T04:39:40.115" v="5218" actId="20577"/>
        <pc:sldMkLst>
          <pc:docMk/>
          <pc:sldMk cId="3666714324" sldId="4493"/>
        </pc:sldMkLst>
        <pc:spChg chg="mod">
          <ac:chgData name="Guarda Madriaza, Andres" userId="524f1fec-b848-4aa4-ad30-b433d0ef7cfd" providerId="ADAL" clId="{F0859668-BB13-444E-9498-EBDDB3C7F861}" dt="2025-05-02T04:25:37.484" v="4983" actId="20577"/>
          <ac:spMkLst>
            <pc:docMk/>
            <pc:sldMk cId="3666714324" sldId="4493"/>
            <ac:spMk id="3" creationId="{1F5CE20F-11B9-2398-3D28-14CD11320932}"/>
          </ac:spMkLst>
        </pc:spChg>
        <pc:spChg chg="mod">
          <ac:chgData name="Guarda Madriaza, Andres" userId="524f1fec-b848-4aa4-ad30-b433d0ef7cfd" providerId="ADAL" clId="{F0859668-BB13-444E-9498-EBDDB3C7F861}" dt="2025-05-02T04:34:05.888" v="5125" actId="14100"/>
          <ac:spMkLst>
            <pc:docMk/>
            <pc:sldMk cId="3666714324" sldId="4493"/>
            <ac:spMk id="10" creationId="{F8A607CD-39FC-95F3-2ED4-23945205F7BC}"/>
          </ac:spMkLst>
        </pc:spChg>
        <pc:spChg chg="mod">
          <ac:chgData name="Guarda Madriaza, Andres" userId="524f1fec-b848-4aa4-ad30-b433d0ef7cfd" providerId="ADAL" clId="{F0859668-BB13-444E-9498-EBDDB3C7F861}" dt="2025-05-02T04:34:28.584" v="5148" actId="1038"/>
          <ac:spMkLst>
            <pc:docMk/>
            <pc:sldMk cId="3666714324" sldId="4493"/>
            <ac:spMk id="23" creationId="{62FB5F46-45E3-1EB6-359E-E5619126CB3B}"/>
          </ac:spMkLst>
        </pc:spChg>
        <pc:spChg chg="mod">
          <ac:chgData name="Guarda Madriaza, Andres" userId="524f1fec-b848-4aa4-ad30-b433d0ef7cfd" providerId="ADAL" clId="{F0859668-BB13-444E-9498-EBDDB3C7F861}" dt="2025-05-02T04:36:19.918" v="5161" actId="20577"/>
          <ac:spMkLst>
            <pc:docMk/>
            <pc:sldMk cId="3666714324" sldId="4493"/>
            <ac:spMk id="25" creationId="{C7BFE0A9-BA5D-4FAB-E1CF-3D2BB6AA656A}"/>
          </ac:spMkLst>
        </pc:spChg>
        <pc:spChg chg="mod">
          <ac:chgData name="Guarda Madriaza, Andres" userId="524f1fec-b848-4aa4-ad30-b433d0ef7cfd" providerId="ADAL" clId="{F0859668-BB13-444E-9498-EBDDB3C7F861}" dt="2025-05-02T04:38:35.421" v="5214" actId="20577"/>
          <ac:spMkLst>
            <pc:docMk/>
            <pc:sldMk cId="3666714324" sldId="4493"/>
            <ac:spMk id="38" creationId="{75839018-1F4E-9B38-1F4E-7928DA094DC4}"/>
          </ac:spMkLst>
        </pc:spChg>
        <pc:graphicFrameChg chg="add mod modGraphic">
          <ac:chgData name="Guarda Madriaza, Andres" userId="524f1fec-b848-4aa4-ad30-b433d0ef7cfd" providerId="ADAL" clId="{F0859668-BB13-444E-9498-EBDDB3C7F861}" dt="2025-05-02T04:39:40.115" v="5218" actId="20577"/>
          <ac:graphicFrameMkLst>
            <pc:docMk/>
            <pc:sldMk cId="3666714324" sldId="4493"/>
            <ac:graphicFrameMk id="4" creationId="{AEC5350F-5B31-EF62-689B-6681B5188C65}"/>
          </ac:graphicFrameMkLst>
        </pc:graphicFrameChg>
        <pc:graphicFrameChg chg="add mod modGraphic">
          <ac:chgData name="Guarda Madriaza, Andres" userId="524f1fec-b848-4aa4-ad30-b433d0ef7cfd" providerId="ADAL" clId="{F0859668-BB13-444E-9498-EBDDB3C7F861}" dt="2025-05-02T04:38:23.900" v="5213" actId="20577"/>
          <ac:graphicFrameMkLst>
            <pc:docMk/>
            <pc:sldMk cId="3666714324" sldId="4493"/>
            <ac:graphicFrameMk id="6" creationId="{B39F64A4-752C-194B-2617-E6A98CDF7B15}"/>
          </ac:graphicFrameMkLst>
        </pc:graphicFrameChg>
      </pc:sldChg>
      <pc:sldChg chg="addSp delSp modSp mod">
        <pc:chgData name="Guarda Madriaza, Andres" userId="524f1fec-b848-4aa4-ad30-b433d0ef7cfd" providerId="ADAL" clId="{F0859668-BB13-444E-9498-EBDDB3C7F861}" dt="2025-05-01T19:10:41.889" v="1333" actId="20577"/>
        <pc:sldMkLst>
          <pc:docMk/>
          <pc:sldMk cId="1800967396" sldId="4494"/>
        </pc:sldMkLst>
        <pc:spChg chg="mod">
          <ac:chgData name="Guarda Madriaza, Andres" userId="524f1fec-b848-4aa4-ad30-b433d0ef7cfd" providerId="ADAL" clId="{F0859668-BB13-444E-9498-EBDDB3C7F861}" dt="2025-05-01T18:56:08.958" v="1164" actId="948"/>
          <ac:spMkLst>
            <pc:docMk/>
            <pc:sldMk cId="1800967396" sldId="4494"/>
            <ac:spMk id="6" creationId="{5CC4EBB0-69BE-3BED-F9CA-DE9B58A2281D}"/>
          </ac:spMkLst>
        </pc:spChg>
        <pc:spChg chg="mod">
          <ac:chgData name="Guarda Madriaza, Andres" userId="524f1fec-b848-4aa4-ad30-b433d0ef7cfd" providerId="ADAL" clId="{F0859668-BB13-444E-9498-EBDDB3C7F861}" dt="2025-05-01T18:56:19.273" v="1167" actId="948"/>
          <ac:spMkLst>
            <pc:docMk/>
            <pc:sldMk cId="1800967396" sldId="4494"/>
            <ac:spMk id="22" creationId="{54D959A2-8656-6689-6B46-A6693EDDD304}"/>
          </ac:spMkLst>
        </pc:spChg>
        <pc:spChg chg="mod">
          <ac:chgData name="Guarda Madriaza, Andres" userId="524f1fec-b848-4aa4-ad30-b433d0ef7cfd" providerId="ADAL" clId="{F0859668-BB13-444E-9498-EBDDB3C7F861}" dt="2025-05-01T19:10:41.889" v="1333" actId="20577"/>
          <ac:spMkLst>
            <pc:docMk/>
            <pc:sldMk cId="1800967396" sldId="4494"/>
            <ac:spMk id="25" creationId="{149EFCCE-9E53-FCCB-20DB-97EC20B813FA}"/>
          </ac:spMkLst>
        </pc:spChg>
        <pc:spChg chg="mod">
          <ac:chgData name="Guarda Madriaza, Andres" userId="524f1fec-b848-4aa4-ad30-b433d0ef7cfd" providerId="ADAL" clId="{F0859668-BB13-444E-9498-EBDDB3C7F861}" dt="2025-05-01T19:01:18.849" v="1246" actId="947"/>
          <ac:spMkLst>
            <pc:docMk/>
            <pc:sldMk cId="1800967396" sldId="4494"/>
            <ac:spMk id="26" creationId="{9EAD071E-7D20-8767-16F3-FF8C9D0851D2}"/>
          </ac:spMkLst>
        </pc:spChg>
        <pc:grpChg chg="mod">
          <ac:chgData name="Guarda Madriaza, Andres" userId="524f1fec-b848-4aa4-ad30-b433d0ef7cfd" providerId="ADAL" clId="{F0859668-BB13-444E-9498-EBDDB3C7F861}" dt="2025-05-01T18:55:50.341" v="1145" actId="14100"/>
          <ac:grpSpMkLst>
            <pc:docMk/>
            <pc:sldMk cId="1800967396" sldId="4494"/>
            <ac:grpSpMk id="5" creationId="{09D703F7-39A1-2A61-9B32-22F79A933AF0}"/>
          </ac:grpSpMkLst>
        </pc:grpChg>
        <pc:grpChg chg="mod">
          <ac:chgData name="Guarda Madriaza, Andres" userId="524f1fec-b848-4aa4-ad30-b433d0ef7cfd" providerId="ADAL" clId="{F0859668-BB13-444E-9498-EBDDB3C7F861}" dt="2025-05-01T18:56:24.864" v="1182" actId="1035"/>
          <ac:grpSpMkLst>
            <pc:docMk/>
            <pc:sldMk cId="1800967396" sldId="4494"/>
            <ac:grpSpMk id="21" creationId="{AFEB8D57-903F-3212-C886-CDCEF5835EEC}"/>
          </ac:grpSpMkLst>
        </pc:grpChg>
        <pc:grpChg chg="mod">
          <ac:chgData name="Guarda Madriaza, Andres" userId="524f1fec-b848-4aa4-ad30-b433d0ef7cfd" providerId="ADAL" clId="{F0859668-BB13-444E-9498-EBDDB3C7F861}" dt="2025-05-01T18:56:54.956" v="1214" actId="14100"/>
          <ac:grpSpMkLst>
            <pc:docMk/>
            <pc:sldMk cId="1800967396" sldId="4494"/>
            <ac:grpSpMk id="24" creationId="{B393389E-CB52-67A2-D4A2-9D055634D2B5}"/>
          </ac:grpSpMkLst>
        </pc:grpChg>
        <pc:picChg chg="mod">
          <ac:chgData name="Guarda Madriaza, Andres" userId="524f1fec-b848-4aa4-ad30-b433d0ef7cfd" providerId="ADAL" clId="{F0859668-BB13-444E-9498-EBDDB3C7F861}" dt="2025-05-01T18:59:07.393" v="1233" actId="1038"/>
          <ac:picMkLst>
            <pc:docMk/>
            <pc:sldMk cId="1800967396" sldId="4494"/>
            <ac:picMk id="10" creationId="{910C47B8-F6EC-C58D-66CA-9509441AFDEA}"/>
          </ac:picMkLst>
        </pc:picChg>
      </pc:sldChg>
      <pc:sldChg chg="addSp delSp modSp mod">
        <pc:chgData name="Guarda Madriaza, Andres" userId="524f1fec-b848-4aa4-ad30-b433d0ef7cfd" providerId="ADAL" clId="{F0859668-BB13-444E-9498-EBDDB3C7F861}" dt="2025-05-02T04:53:31.284" v="5350"/>
        <pc:sldMkLst>
          <pc:docMk/>
          <pc:sldMk cId="55702016" sldId="4495"/>
        </pc:sldMkLst>
        <pc:spChg chg="mod ord">
          <ac:chgData name="Guarda Madriaza, Andres" userId="524f1fec-b848-4aa4-ad30-b433d0ef7cfd" providerId="ADAL" clId="{F0859668-BB13-444E-9498-EBDDB3C7F861}" dt="2025-05-02T04:51:44.209" v="5308"/>
          <ac:spMkLst>
            <pc:docMk/>
            <pc:sldMk cId="55702016" sldId="4495"/>
            <ac:spMk id="2" creationId="{3A7EFEBB-7FB7-C3E8-9209-0A20864DE99F}"/>
          </ac:spMkLst>
        </pc:spChg>
        <pc:spChg chg="add mod ord">
          <ac:chgData name="Guarda Madriaza, Andres" userId="524f1fec-b848-4aa4-ad30-b433d0ef7cfd" providerId="ADAL" clId="{F0859668-BB13-444E-9498-EBDDB3C7F861}" dt="2025-05-02T04:51:44.193" v="5292"/>
          <ac:spMkLst>
            <pc:docMk/>
            <pc:sldMk cId="55702016" sldId="4495"/>
            <ac:spMk id="8" creationId="{002FF20A-419D-4829-37B3-9C6FBAA6E257}"/>
          </ac:spMkLst>
        </pc:spChg>
        <pc:spChg chg="mod ord">
          <ac:chgData name="Guarda Madriaza, Andres" userId="524f1fec-b848-4aa4-ad30-b433d0ef7cfd" providerId="ADAL" clId="{F0859668-BB13-444E-9498-EBDDB3C7F861}" dt="2025-05-02T04:51:44.193" v="5294"/>
          <ac:spMkLst>
            <pc:docMk/>
            <pc:sldMk cId="55702016" sldId="4495"/>
            <ac:spMk id="20" creationId="{BF34563F-5AD5-1187-C47E-6CA2B70B5C3E}"/>
          </ac:spMkLst>
        </pc:spChg>
        <pc:spChg chg="mod ord">
          <ac:chgData name="Guarda Madriaza, Andres" userId="524f1fec-b848-4aa4-ad30-b433d0ef7cfd" providerId="ADAL" clId="{F0859668-BB13-444E-9498-EBDDB3C7F861}" dt="2025-05-02T04:51:44.193" v="5296"/>
          <ac:spMkLst>
            <pc:docMk/>
            <pc:sldMk cId="55702016" sldId="4495"/>
            <ac:spMk id="22" creationId="{AE9334BA-00B5-A732-A019-0C506D25302D}"/>
          </ac:spMkLst>
        </pc:spChg>
        <pc:spChg chg="mod ord">
          <ac:chgData name="Guarda Madriaza, Andres" userId="524f1fec-b848-4aa4-ad30-b433d0ef7cfd" providerId="ADAL" clId="{F0859668-BB13-444E-9498-EBDDB3C7F861}" dt="2025-05-02T04:51:44.193" v="5298"/>
          <ac:spMkLst>
            <pc:docMk/>
            <pc:sldMk cId="55702016" sldId="4495"/>
            <ac:spMk id="29" creationId="{3FA406D3-E623-7A56-F8CE-AF7B79BAE6AF}"/>
          </ac:spMkLst>
        </pc:spChg>
        <pc:spChg chg="mod ord">
          <ac:chgData name="Guarda Madriaza, Andres" userId="524f1fec-b848-4aa4-ad30-b433d0ef7cfd" providerId="ADAL" clId="{F0859668-BB13-444E-9498-EBDDB3C7F861}" dt="2025-05-02T04:51:44.209" v="5300"/>
          <ac:spMkLst>
            <pc:docMk/>
            <pc:sldMk cId="55702016" sldId="4495"/>
            <ac:spMk id="30" creationId="{C2B5F1BB-EED3-4AA1-15F2-03D78E70B5CC}"/>
          </ac:spMkLst>
        </pc:spChg>
        <pc:graphicFrameChg chg="mod">
          <ac:chgData name="Guarda Madriaza, Andres" userId="524f1fec-b848-4aa4-ad30-b433d0ef7cfd" providerId="ADAL" clId="{F0859668-BB13-444E-9498-EBDDB3C7F861}" dt="2025-05-02T04:51:44.225" v="5312"/>
          <ac:graphicFrameMkLst>
            <pc:docMk/>
            <pc:sldMk cId="55702016" sldId="4495"/>
            <ac:graphicFrameMk id="7" creationId="{18E054ED-5CB2-5A84-F2E8-A152696FE8F4}"/>
          </ac:graphicFrameMkLst>
        </pc:graphicFrameChg>
        <pc:picChg chg="add mod ord">
          <ac:chgData name="Guarda Madriaza, Andres" userId="524f1fec-b848-4aa4-ad30-b433d0ef7cfd" providerId="ADAL" clId="{F0859668-BB13-444E-9498-EBDDB3C7F861}" dt="2025-05-02T04:51:44.209" v="5310"/>
          <ac:picMkLst>
            <pc:docMk/>
            <pc:sldMk cId="55702016" sldId="4495"/>
            <ac:picMk id="6" creationId="{7350CC20-C5F2-88EB-793B-863E0240A704}"/>
          </ac:picMkLst>
        </pc:picChg>
        <pc:picChg chg="mod ord">
          <ac:chgData name="Guarda Madriaza, Andres" userId="524f1fec-b848-4aa4-ad30-b433d0ef7cfd" providerId="ADAL" clId="{F0859668-BB13-444E-9498-EBDDB3C7F861}" dt="2025-05-02T04:51:44.209" v="5302"/>
          <ac:picMkLst>
            <pc:docMk/>
            <pc:sldMk cId="55702016" sldId="4495"/>
            <ac:picMk id="38" creationId="{2D22013C-9B4C-C0C5-4D8A-CF73B59DEE43}"/>
          </ac:picMkLst>
        </pc:picChg>
        <pc:picChg chg="mod ord">
          <ac:chgData name="Guarda Madriaza, Andres" userId="524f1fec-b848-4aa4-ad30-b433d0ef7cfd" providerId="ADAL" clId="{F0859668-BB13-444E-9498-EBDDB3C7F861}" dt="2025-05-02T04:51:44.209" v="5304"/>
          <ac:picMkLst>
            <pc:docMk/>
            <pc:sldMk cId="55702016" sldId="4495"/>
            <ac:picMk id="40" creationId="{EF0E503D-E73C-2BF9-7A4C-1F253CA379A1}"/>
          </ac:picMkLst>
        </pc:picChg>
      </pc:sldChg>
      <pc:sldMasterChg chg="delSldLayout">
        <pc:chgData name="Guarda Madriaza, Andres" userId="524f1fec-b848-4aa4-ad30-b433d0ef7cfd" providerId="ADAL" clId="{F0859668-BB13-444E-9498-EBDDB3C7F861}" dt="2025-05-02T04:54:21.764" v="5351" actId="47"/>
        <pc:sldMasterMkLst>
          <pc:docMk/>
          <pc:sldMasterMk cId="1357787719" sldId="2147483648"/>
        </pc:sldMasterMkLst>
        <pc:sldLayoutChg chg="del">
          <pc:chgData name="Guarda Madriaza, Andres" userId="524f1fec-b848-4aa4-ad30-b433d0ef7cfd" providerId="ADAL" clId="{F0859668-BB13-444E-9498-EBDDB3C7F861}" dt="2025-05-02T04:54:21.764" v="5351" actId="47"/>
          <pc:sldLayoutMkLst>
            <pc:docMk/>
            <pc:sldMasterMk cId="1357787719" sldId="2147483648"/>
            <pc:sldLayoutMk cId="1660586019" sldId="2147483656"/>
          </pc:sldLayoutMkLst>
        </pc:sldLayoutChg>
      </pc:sldMasterChg>
    </pc:docChg>
  </pc:docChgLst>
  <pc:docChgLst>
    <pc:chgData name="Polanco Zanetta, Sebastian" userId="679afde1-f2ca-45a1-83ca-bc48414eb788" providerId="ADAL" clId="{B9C06509-25B1-47D3-980D-B34F6BE8753E}"/>
    <pc:docChg chg="undo redo custSel addSld delSld modSld sldOrd">
      <pc:chgData name="Polanco Zanetta, Sebastian" userId="679afde1-f2ca-45a1-83ca-bc48414eb788" providerId="ADAL" clId="{B9C06509-25B1-47D3-980D-B34F6BE8753E}" dt="2025-05-02T17:59:09.391" v="34752" actId="14100"/>
      <pc:docMkLst>
        <pc:docMk/>
      </pc:docMkLst>
      <pc:sldChg chg="addSp delSp modSp mod">
        <pc:chgData name="Polanco Zanetta, Sebastian" userId="679afde1-f2ca-45a1-83ca-bc48414eb788" providerId="ADAL" clId="{B9C06509-25B1-47D3-980D-B34F6BE8753E}" dt="2025-05-02T17:53:45.657" v="34657"/>
        <pc:sldMkLst>
          <pc:docMk/>
          <pc:sldMk cId="2402795078" sldId="4456"/>
        </pc:sldMkLst>
        <pc:spChg chg="add mod">
          <ac:chgData name="Polanco Zanetta, Sebastian" userId="679afde1-f2ca-45a1-83ca-bc48414eb788" providerId="ADAL" clId="{B9C06509-25B1-47D3-980D-B34F6BE8753E}" dt="2025-05-02T01:33:47.782" v="33795" actId="108"/>
          <ac:spMkLst>
            <pc:docMk/>
            <pc:sldMk cId="2402795078" sldId="4456"/>
            <ac:spMk id="2" creationId="{0FB8914C-FA11-CE71-3D4B-DB0481763BB2}"/>
          </ac:spMkLst>
        </pc:spChg>
        <pc:spChg chg="add mod">
          <ac:chgData name="Polanco Zanetta, Sebastian" userId="679afde1-f2ca-45a1-83ca-bc48414eb788" providerId="ADAL" clId="{B9C06509-25B1-47D3-980D-B34F6BE8753E}" dt="2025-05-02T17:53:45.657" v="34657"/>
          <ac:spMkLst>
            <pc:docMk/>
            <pc:sldMk cId="2402795078" sldId="4456"/>
            <ac:spMk id="4" creationId="{E48926CF-5778-898A-848D-BA5148391CF5}"/>
          </ac:spMkLst>
        </pc:spChg>
        <pc:spChg chg="mod">
          <ac:chgData name="Polanco Zanetta, Sebastian" userId="679afde1-f2ca-45a1-83ca-bc48414eb788" providerId="ADAL" clId="{B9C06509-25B1-47D3-980D-B34F6BE8753E}" dt="2025-05-02T01:35:59.856" v="33821" actId="123"/>
          <ac:spMkLst>
            <pc:docMk/>
            <pc:sldMk cId="2402795078" sldId="4456"/>
            <ac:spMk id="41" creationId="{23AA03E7-73A1-8E58-D563-FB6EB5C2D097}"/>
          </ac:spMkLst>
        </pc:spChg>
        <pc:spChg chg="mod">
          <ac:chgData name="Polanco Zanetta, Sebastian" userId="679afde1-f2ca-45a1-83ca-bc48414eb788" providerId="ADAL" clId="{B9C06509-25B1-47D3-980D-B34F6BE8753E}" dt="2025-04-28T15:49:16.430" v="12183"/>
          <ac:spMkLst>
            <pc:docMk/>
            <pc:sldMk cId="2402795078" sldId="4456"/>
            <ac:spMk id="42" creationId="{CD58B6AB-7C4F-757F-3F5D-50DF89E2ACFD}"/>
          </ac:spMkLst>
        </pc:spChg>
        <pc:spChg chg="mod">
          <ac:chgData name="Polanco Zanetta, Sebastian" userId="679afde1-f2ca-45a1-83ca-bc48414eb788" providerId="ADAL" clId="{B9C06509-25B1-47D3-980D-B34F6BE8753E}" dt="2025-05-02T01:36:06.246" v="33823" actId="123"/>
          <ac:spMkLst>
            <pc:docMk/>
            <pc:sldMk cId="2402795078" sldId="4456"/>
            <ac:spMk id="44" creationId="{71D217CB-DB8D-9399-7DF9-8B36928AEFB0}"/>
          </ac:spMkLst>
        </pc:spChg>
        <pc:spChg chg="mod">
          <ac:chgData name="Polanco Zanetta, Sebastian" userId="679afde1-f2ca-45a1-83ca-bc48414eb788" providerId="ADAL" clId="{B9C06509-25B1-47D3-980D-B34F6BE8753E}" dt="2025-04-28T15:49:16.430" v="12183"/>
          <ac:spMkLst>
            <pc:docMk/>
            <pc:sldMk cId="2402795078" sldId="4456"/>
            <ac:spMk id="45" creationId="{B07D07D6-3960-1D91-2299-782F6A39C381}"/>
          </ac:spMkLst>
        </pc:spChg>
        <pc:spChg chg="mod">
          <ac:chgData name="Polanco Zanetta, Sebastian" userId="679afde1-f2ca-45a1-83ca-bc48414eb788" providerId="ADAL" clId="{B9C06509-25B1-47D3-980D-B34F6BE8753E}" dt="2025-05-02T01:36:13.427" v="33824" actId="123"/>
          <ac:spMkLst>
            <pc:docMk/>
            <pc:sldMk cId="2402795078" sldId="4456"/>
            <ac:spMk id="47" creationId="{91B3670C-8613-1F50-1A26-C6174C7ABA37}"/>
          </ac:spMkLst>
        </pc:spChg>
        <pc:spChg chg="mod">
          <ac:chgData name="Polanco Zanetta, Sebastian" userId="679afde1-f2ca-45a1-83ca-bc48414eb788" providerId="ADAL" clId="{B9C06509-25B1-47D3-980D-B34F6BE8753E}" dt="2025-04-28T15:49:16.430" v="12183"/>
          <ac:spMkLst>
            <pc:docMk/>
            <pc:sldMk cId="2402795078" sldId="4456"/>
            <ac:spMk id="48" creationId="{47954828-2713-37DA-5328-C33F66FDDE3F}"/>
          </ac:spMkLst>
        </pc:spChg>
        <pc:grpChg chg="add mod">
          <ac:chgData name="Polanco Zanetta, Sebastian" userId="679afde1-f2ca-45a1-83ca-bc48414eb788" providerId="ADAL" clId="{B9C06509-25B1-47D3-980D-B34F6BE8753E}" dt="2025-04-28T15:49:16.430" v="12183"/>
          <ac:grpSpMkLst>
            <pc:docMk/>
            <pc:sldMk cId="2402795078" sldId="4456"/>
            <ac:grpSpMk id="40" creationId="{F1399A61-1004-2466-894B-E10BB558202E}"/>
          </ac:grpSpMkLst>
        </pc:grpChg>
        <pc:grpChg chg="add mod">
          <ac:chgData name="Polanco Zanetta, Sebastian" userId="679afde1-f2ca-45a1-83ca-bc48414eb788" providerId="ADAL" clId="{B9C06509-25B1-47D3-980D-B34F6BE8753E}" dt="2025-04-28T15:49:16.430" v="12183"/>
          <ac:grpSpMkLst>
            <pc:docMk/>
            <pc:sldMk cId="2402795078" sldId="4456"/>
            <ac:grpSpMk id="43" creationId="{DF4BFE7D-B5A0-86D6-9C23-12300FC8F0E6}"/>
          </ac:grpSpMkLst>
        </pc:grpChg>
        <pc:grpChg chg="add mod">
          <ac:chgData name="Polanco Zanetta, Sebastian" userId="679afde1-f2ca-45a1-83ca-bc48414eb788" providerId="ADAL" clId="{B9C06509-25B1-47D3-980D-B34F6BE8753E}" dt="2025-04-28T15:49:16.430" v="12183"/>
          <ac:grpSpMkLst>
            <pc:docMk/>
            <pc:sldMk cId="2402795078" sldId="4456"/>
            <ac:grpSpMk id="46" creationId="{B66740DC-AA28-CE78-5422-ACAFE585C4F8}"/>
          </ac:grpSpMkLst>
        </pc:grpChg>
        <pc:picChg chg="mod">
          <ac:chgData name="Polanco Zanetta, Sebastian" userId="679afde1-f2ca-45a1-83ca-bc48414eb788" providerId="ADAL" clId="{B9C06509-25B1-47D3-980D-B34F6BE8753E}" dt="2025-04-28T15:42:08.148" v="12131" actId="14100"/>
          <ac:picMkLst>
            <pc:docMk/>
            <pc:sldMk cId="2402795078" sldId="4456"/>
            <ac:picMk id="9" creationId="{77EAC53D-2C33-D4AC-61A0-7AE87A4D29AD}"/>
          </ac:picMkLst>
        </pc:picChg>
      </pc:sldChg>
      <pc:sldChg chg="addSp delSp modSp mod ord">
        <pc:chgData name="Polanco Zanetta, Sebastian" userId="679afde1-f2ca-45a1-83ca-bc48414eb788" providerId="ADAL" clId="{B9C06509-25B1-47D3-980D-B34F6BE8753E}" dt="2025-05-02T17:53:43.975" v="34656"/>
        <pc:sldMkLst>
          <pc:docMk/>
          <pc:sldMk cId="2309134026" sldId="4457"/>
        </pc:sldMkLst>
        <pc:spChg chg="add mod">
          <ac:chgData name="Polanco Zanetta, Sebastian" userId="679afde1-f2ca-45a1-83ca-bc48414eb788" providerId="ADAL" clId="{B9C06509-25B1-47D3-980D-B34F6BE8753E}" dt="2025-05-02T01:33:44.256" v="33793" actId="108"/>
          <ac:spMkLst>
            <pc:docMk/>
            <pc:sldMk cId="2309134026" sldId="4457"/>
            <ac:spMk id="2" creationId="{AD2024DD-5059-3981-81C8-78436725D49E}"/>
          </ac:spMkLst>
        </pc:spChg>
        <pc:spChg chg="add mod">
          <ac:chgData name="Polanco Zanetta, Sebastian" userId="679afde1-f2ca-45a1-83ca-bc48414eb788" providerId="ADAL" clId="{B9C06509-25B1-47D3-980D-B34F6BE8753E}" dt="2025-05-02T17:53:43.975" v="34656"/>
          <ac:spMkLst>
            <pc:docMk/>
            <pc:sldMk cId="2309134026" sldId="4457"/>
            <ac:spMk id="3" creationId="{1C9BC4CF-776E-F69E-D394-53779165A399}"/>
          </ac:spMkLst>
        </pc:spChg>
        <pc:spChg chg="mod">
          <ac:chgData name="Polanco Zanetta, Sebastian" userId="679afde1-f2ca-45a1-83ca-bc48414eb788" providerId="ADAL" clId="{B9C06509-25B1-47D3-980D-B34F6BE8753E}" dt="2025-05-02T01:35:54.588" v="33819" actId="123"/>
          <ac:spMkLst>
            <pc:docMk/>
            <pc:sldMk cId="2309134026" sldId="4457"/>
            <ac:spMk id="43" creationId="{87716F67-2A3B-4C4B-3713-11C442A4E3F6}"/>
          </ac:spMkLst>
        </pc:spChg>
        <pc:spChg chg="mod">
          <ac:chgData name="Polanco Zanetta, Sebastian" userId="679afde1-f2ca-45a1-83ca-bc48414eb788" providerId="ADAL" clId="{B9C06509-25B1-47D3-980D-B34F6BE8753E}" dt="2025-04-28T14:11:12.983" v="11253"/>
          <ac:spMkLst>
            <pc:docMk/>
            <pc:sldMk cId="2309134026" sldId="4457"/>
            <ac:spMk id="44" creationId="{97AF2B59-C86F-7439-3C44-F20432C0C11B}"/>
          </ac:spMkLst>
        </pc:spChg>
        <pc:spChg chg="mod">
          <ac:chgData name="Polanco Zanetta, Sebastian" userId="679afde1-f2ca-45a1-83ca-bc48414eb788" providerId="ADAL" clId="{B9C06509-25B1-47D3-980D-B34F6BE8753E}" dt="2025-04-28T14:11:12.983" v="11253"/>
          <ac:spMkLst>
            <pc:docMk/>
            <pc:sldMk cId="2309134026" sldId="4457"/>
            <ac:spMk id="46" creationId="{6CF2148B-1245-E063-CBD3-279477D30C4D}"/>
          </ac:spMkLst>
        </pc:spChg>
        <pc:spChg chg="mod">
          <ac:chgData name="Polanco Zanetta, Sebastian" userId="679afde1-f2ca-45a1-83ca-bc48414eb788" providerId="ADAL" clId="{B9C06509-25B1-47D3-980D-B34F6BE8753E}" dt="2025-05-02T01:35:56.246" v="33820" actId="123"/>
          <ac:spMkLst>
            <pc:docMk/>
            <pc:sldMk cId="2309134026" sldId="4457"/>
            <ac:spMk id="47" creationId="{6FC4168F-0FE8-6BF4-D308-2C115049FF3D}"/>
          </ac:spMkLst>
        </pc:spChg>
        <pc:grpChg chg="add mod">
          <ac:chgData name="Polanco Zanetta, Sebastian" userId="679afde1-f2ca-45a1-83ca-bc48414eb788" providerId="ADAL" clId="{B9C06509-25B1-47D3-980D-B34F6BE8753E}" dt="2025-04-28T14:11:12.983" v="11253"/>
          <ac:grpSpMkLst>
            <pc:docMk/>
            <pc:sldMk cId="2309134026" sldId="4457"/>
            <ac:grpSpMk id="42" creationId="{51BB093B-162B-401F-3B15-6BD52B9BF887}"/>
          </ac:grpSpMkLst>
        </pc:grpChg>
        <pc:grpChg chg="add mod">
          <ac:chgData name="Polanco Zanetta, Sebastian" userId="679afde1-f2ca-45a1-83ca-bc48414eb788" providerId="ADAL" clId="{B9C06509-25B1-47D3-980D-B34F6BE8753E}" dt="2025-05-02T17:46:24.763" v="34629" actId="1035"/>
          <ac:grpSpMkLst>
            <pc:docMk/>
            <pc:sldMk cId="2309134026" sldId="4457"/>
            <ac:grpSpMk id="45" creationId="{B7D84BCA-921B-6634-F751-C10140BB5490}"/>
          </ac:grpSpMkLst>
        </pc:grpChg>
        <pc:picChg chg="mod">
          <ac:chgData name="Polanco Zanetta, Sebastian" userId="679afde1-f2ca-45a1-83ca-bc48414eb788" providerId="ADAL" clId="{B9C06509-25B1-47D3-980D-B34F6BE8753E}" dt="2025-04-28T13:55:08.376" v="10339" actId="1076"/>
          <ac:picMkLst>
            <pc:docMk/>
            <pc:sldMk cId="2309134026" sldId="4457"/>
            <ac:picMk id="6" creationId="{481CE02F-6539-5534-C11B-32BD309B657D}"/>
          </ac:picMkLst>
        </pc:picChg>
        <pc:picChg chg="add mod">
          <ac:chgData name="Polanco Zanetta, Sebastian" userId="679afde1-f2ca-45a1-83ca-bc48414eb788" providerId="ADAL" clId="{B9C06509-25B1-47D3-980D-B34F6BE8753E}" dt="2025-04-28T15:56:21.582" v="12279"/>
          <ac:picMkLst>
            <pc:docMk/>
            <pc:sldMk cId="2309134026" sldId="4457"/>
            <ac:picMk id="24" creationId="{6F7D000E-FB52-C236-9D3B-1FB9AFBF0340}"/>
          </ac:picMkLst>
        </pc:picChg>
      </pc:sldChg>
      <pc:sldChg chg="modSp del mod">
        <pc:chgData name="Polanco Zanetta, Sebastian" userId="679afde1-f2ca-45a1-83ca-bc48414eb788" providerId="ADAL" clId="{B9C06509-25B1-47D3-980D-B34F6BE8753E}" dt="2025-04-22T15:41:23.174" v="215" actId="47"/>
        <pc:sldMkLst>
          <pc:docMk/>
          <pc:sldMk cId="3070647187" sldId="4459"/>
        </pc:sldMkLst>
      </pc:sldChg>
      <pc:sldChg chg="addSp delSp modSp mod">
        <pc:chgData name="Polanco Zanetta, Sebastian" userId="679afde1-f2ca-45a1-83ca-bc48414eb788" providerId="ADAL" clId="{B9C06509-25B1-47D3-980D-B34F6BE8753E}" dt="2025-05-02T01:36:49.843" v="33830" actId="1038"/>
        <pc:sldMkLst>
          <pc:docMk/>
          <pc:sldMk cId="1629867990" sldId="4461"/>
        </pc:sldMkLst>
        <pc:spChg chg="add mod">
          <ac:chgData name="Polanco Zanetta, Sebastian" userId="679afde1-f2ca-45a1-83ca-bc48414eb788" providerId="ADAL" clId="{B9C06509-25B1-47D3-980D-B34F6BE8753E}" dt="2025-05-02T01:30:59.179" v="33745"/>
          <ac:spMkLst>
            <pc:docMk/>
            <pc:sldMk cId="1629867990" sldId="4461"/>
            <ac:spMk id="5" creationId="{A3FE7B05-BF85-D086-F95C-EF0D547E382E}"/>
          </ac:spMkLst>
        </pc:spChg>
        <pc:spChg chg="add mod">
          <ac:chgData name="Polanco Zanetta, Sebastian" userId="679afde1-f2ca-45a1-83ca-bc48414eb788" providerId="ADAL" clId="{B9C06509-25B1-47D3-980D-B34F6BE8753E}" dt="2025-04-29T20:14:54.564" v="19090"/>
          <ac:spMkLst>
            <pc:docMk/>
            <pc:sldMk cId="1629867990" sldId="4461"/>
            <ac:spMk id="20" creationId="{7D5EF66B-93DF-E502-8418-CB1EC80C69D2}"/>
          </ac:spMkLst>
        </pc:spChg>
        <pc:spChg chg="add mod">
          <ac:chgData name="Polanco Zanetta, Sebastian" userId="679afde1-f2ca-45a1-83ca-bc48414eb788" providerId="ADAL" clId="{B9C06509-25B1-47D3-980D-B34F6BE8753E}" dt="2025-04-29T20:14:54.564" v="19091"/>
          <ac:spMkLst>
            <pc:docMk/>
            <pc:sldMk cId="1629867990" sldId="4461"/>
            <ac:spMk id="21" creationId="{0EEE33E7-3F2A-5D66-4499-87E7735DAFBC}"/>
          </ac:spMkLst>
        </pc:spChg>
        <pc:spChg chg="add mod">
          <ac:chgData name="Polanco Zanetta, Sebastian" userId="679afde1-f2ca-45a1-83ca-bc48414eb788" providerId="ADAL" clId="{B9C06509-25B1-47D3-980D-B34F6BE8753E}" dt="2025-04-29T20:14:54.564" v="19092"/>
          <ac:spMkLst>
            <pc:docMk/>
            <pc:sldMk cId="1629867990" sldId="4461"/>
            <ac:spMk id="22" creationId="{8B5D967E-A7D3-B9B3-2730-C280C806FFB3}"/>
          </ac:spMkLst>
        </pc:spChg>
        <pc:spChg chg="add mod">
          <ac:chgData name="Polanco Zanetta, Sebastian" userId="679afde1-f2ca-45a1-83ca-bc48414eb788" providerId="ADAL" clId="{B9C06509-25B1-47D3-980D-B34F6BE8753E}" dt="2025-04-29T20:14:54.564" v="19093"/>
          <ac:spMkLst>
            <pc:docMk/>
            <pc:sldMk cId="1629867990" sldId="4461"/>
            <ac:spMk id="23" creationId="{81BAE109-84B6-40AA-FE99-7E18A123D945}"/>
          </ac:spMkLst>
        </pc:spChg>
        <pc:spChg chg="add mod ord">
          <ac:chgData name="Polanco Zanetta, Sebastian" userId="679afde1-f2ca-45a1-83ca-bc48414eb788" providerId="ADAL" clId="{B9C06509-25B1-47D3-980D-B34F6BE8753E}" dt="2025-04-29T20:14:54.564" v="19095"/>
          <ac:spMkLst>
            <pc:docMk/>
            <pc:sldMk cId="1629867990" sldId="4461"/>
            <ac:spMk id="24" creationId="{A3471FF0-149B-3A93-8F76-94A6E4A6EDB8}"/>
          </ac:spMkLst>
        </pc:spChg>
        <pc:spChg chg="add mod ord">
          <ac:chgData name="Polanco Zanetta, Sebastian" userId="679afde1-f2ca-45a1-83ca-bc48414eb788" providerId="ADAL" clId="{B9C06509-25B1-47D3-980D-B34F6BE8753E}" dt="2025-04-29T20:14:54.564" v="19097"/>
          <ac:spMkLst>
            <pc:docMk/>
            <pc:sldMk cId="1629867990" sldId="4461"/>
            <ac:spMk id="25" creationId="{088EACFB-722C-D3C6-5EA2-874A7C88F63C}"/>
          </ac:spMkLst>
        </pc:spChg>
        <pc:spChg chg="add mod ord">
          <ac:chgData name="Polanco Zanetta, Sebastian" userId="679afde1-f2ca-45a1-83ca-bc48414eb788" providerId="ADAL" clId="{B9C06509-25B1-47D3-980D-B34F6BE8753E}" dt="2025-04-29T20:14:54.564" v="19099"/>
          <ac:spMkLst>
            <pc:docMk/>
            <pc:sldMk cId="1629867990" sldId="4461"/>
            <ac:spMk id="26" creationId="{03EEED99-06C4-A229-CED8-BF115C60ACFF}"/>
          </ac:spMkLst>
        </pc:spChg>
        <pc:spChg chg="add mod ord">
          <ac:chgData name="Polanco Zanetta, Sebastian" userId="679afde1-f2ca-45a1-83ca-bc48414eb788" providerId="ADAL" clId="{B9C06509-25B1-47D3-980D-B34F6BE8753E}" dt="2025-04-29T20:14:54.564" v="19101"/>
          <ac:spMkLst>
            <pc:docMk/>
            <pc:sldMk cId="1629867990" sldId="4461"/>
            <ac:spMk id="27" creationId="{8BE189BD-1FB7-3A83-3E35-51A5B578FCEF}"/>
          </ac:spMkLst>
        </pc:spChg>
        <pc:spChg chg="add mod">
          <ac:chgData name="Polanco Zanetta, Sebastian" userId="679afde1-f2ca-45a1-83ca-bc48414eb788" providerId="ADAL" clId="{B9C06509-25B1-47D3-980D-B34F6BE8753E}" dt="2025-04-29T20:14:54.564" v="19115"/>
          <ac:spMkLst>
            <pc:docMk/>
            <pc:sldMk cId="1629867990" sldId="4461"/>
            <ac:spMk id="49" creationId="{9350945F-A97A-6BA3-B652-A4F84192C2BC}"/>
          </ac:spMkLst>
        </pc:spChg>
        <pc:spChg chg="add mod">
          <ac:chgData name="Polanco Zanetta, Sebastian" userId="679afde1-f2ca-45a1-83ca-bc48414eb788" providerId="ADAL" clId="{B9C06509-25B1-47D3-980D-B34F6BE8753E}" dt="2025-04-29T20:14:54.564" v="19116"/>
          <ac:spMkLst>
            <pc:docMk/>
            <pc:sldMk cId="1629867990" sldId="4461"/>
            <ac:spMk id="50" creationId="{9BE30D35-C925-1024-D51B-C07404BD9124}"/>
          </ac:spMkLst>
        </pc:spChg>
        <pc:spChg chg="add mod">
          <ac:chgData name="Polanco Zanetta, Sebastian" userId="679afde1-f2ca-45a1-83ca-bc48414eb788" providerId="ADAL" clId="{B9C06509-25B1-47D3-980D-B34F6BE8753E}" dt="2025-04-29T20:14:54.564" v="19117"/>
          <ac:spMkLst>
            <pc:docMk/>
            <pc:sldMk cId="1629867990" sldId="4461"/>
            <ac:spMk id="51" creationId="{BD564D6E-D481-C129-7079-1706DB5B7B5E}"/>
          </ac:spMkLst>
        </pc:spChg>
        <pc:spChg chg="add mod">
          <ac:chgData name="Polanco Zanetta, Sebastian" userId="679afde1-f2ca-45a1-83ca-bc48414eb788" providerId="ADAL" clId="{B9C06509-25B1-47D3-980D-B34F6BE8753E}" dt="2025-04-29T20:14:54.564" v="19118"/>
          <ac:spMkLst>
            <pc:docMk/>
            <pc:sldMk cId="1629867990" sldId="4461"/>
            <ac:spMk id="52" creationId="{D39191ED-14F4-CCC0-8F53-90DF17EB1D44}"/>
          </ac:spMkLst>
        </pc:spChg>
        <pc:spChg chg="add mod ord">
          <ac:chgData name="Polanco Zanetta, Sebastian" userId="679afde1-f2ca-45a1-83ca-bc48414eb788" providerId="ADAL" clId="{B9C06509-25B1-47D3-980D-B34F6BE8753E}" dt="2025-04-29T20:14:54.564" v="19120"/>
          <ac:spMkLst>
            <pc:docMk/>
            <pc:sldMk cId="1629867990" sldId="4461"/>
            <ac:spMk id="53" creationId="{4D83F861-BFBA-99E7-4B61-0410BAA8B63E}"/>
          </ac:spMkLst>
        </pc:spChg>
        <pc:spChg chg="add mod ord">
          <ac:chgData name="Polanco Zanetta, Sebastian" userId="679afde1-f2ca-45a1-83ca-bc48414eb788" providerId="ADAL" clId="{B9C06509-25B1-47D3-980D-B34F6BE8753E}" dt="2025-04-29T20:14:54.564" v="19122"/>
          <ac:spMkLst>
            <pc:docMk/>
            <pc:sldMk cId="1629867990" sldId="4461"/>
            <ac:spMk id="54" creationId="{5EFDAB92-A89A-BB56-F7D9-8DC8CBFDC9F0}"/>
          </ac:spMkLst>
        </pc:spChg>
        <pc:spChg chg="add mod ord">
          <ac:chgData name="Polanco Zanetta, Sebastian" userId="679afde1-f2ca-45a1-83ca-bc48414eb788" providerId="ADAL" clId="{B9C06509-25B1-47D3-980D-B34F6BE8753E}" dt="2025-04-29T20:14:54.564" v="19124"/>
          <ac:spMkLst>
            <pc:docMk/>
            <pc:sldMk cId="1629867990" sldId="4461"/>
            <ac:spMk id="57" creationId="{4F51B16D-C4FE-40DF-E65C-6B55C5D818E2}"/>
          </ac:spMkLst>
        </pc:spChg>
        <pc:spChg chg="add mod ord">
          <ac:chgData name="Polanco Zanetta, Sebastian" userId="679afde1-f2ca-45a1-83ca-bc48414eb788" providerId="ADAL" clId="{B9C06509-25B1-47D3-980D-B34F6BE8753E}" dt="2025-04-29T20:14:54.564" v="19126"/>
          <ac:spMkLst>
            <pc:docMk/>
            <pc:sldMk cId="1629867990" sldId="4461"/>
            <ac:spMk id="58" creationId="{B40EEE1B-A36F-732C-212A-B6691EEC8785}"/>
          </ac:spMkLst>
        </pc:spChg>
        <pc:spChg chg="mod">
          <ac:chgData name="Polanco Zanetta, Sebastian" userId="679afde1-f2ca-45a1-83ca-bc48414eb788" providerId="ADAL" clId="{B9C06509-25B1-47D3-980D-B34F6BE8753E}" dt="2025-04-28T21:15:08.616" v="18424" actId="20577"/>
          <ac:spMkLst>
            <pc:docMk/>
            <pc:sldMk cId="1629867990" sldId="4461"/>
            <ac:spMk id="81" creationId="{7F434679-4DC9-6788-1D9C-3923B0ECAC56}"/>
          </ac:spMkLst>
        </pc:spChg>
        <pc:spChg chg="mod">
          <ac:chgData name="Polanco Zanetta, Sebastian" userId="679afde1-f2ca-45a1-83ca-bc48414eb788" providerId="ADAL" clId="{B9C06509-25B1-47D3-980D-B34F6BE8753E}" dt="2025-04-30T03:26:40.938" v="29643" actId="20577"/>
          <ac:spMkLst>
            <pc:docMk/>
            <pc:sldMk cId="1629867990" sldId="4461"/>
            <ac:spMk id="82" creationId="{F04E3F0C-5E10-DEDA-39F0-4A76AD9F4FF2}"/>
          </ac:spMkLst>
        </pc:spChg>
        <pc:spChg chg="mod">
          <ac:chgData name="Polanco Zanetta, Sebastian" userId="679afde1-f2ca-45a1-83ca-bc48414eb788" providerId="ADAL" clId="{B9C06509-25B1-47D3-980D-B34F6BE8753E}" dt="2025-04-28T21:15:16.023" v="18430" actId="20577"/>
          <ac:spMkLst>
            <pc:docMk/>
            <pc:sldMk cId="1629867990" sldId="4461"/>
            <ac:spMk id="84" creationId="{AE1C4C64-B402-1E60-EC26-E6FC97B4CB5E}"/>
          </ac:spMkLst>
        </pc:spChg>
        <pc:spChg chg="mod">
          <ac:chgData name="Polanco Zanetta, Sebastian" userId="679afde1-f2ca-45a1-83ca-bc48414eb788" providerId="ADAL" clId="{B9C06509-25B1-47D3-980D-B34F6BE8753E}" dt="2025-04-30T03:52:36.976" v="29814" actId="20577"/>
          <ac:spMkLst>
            <pc:docMk/>
            <pc:sldMk cId="1629867990" sldId="4461"/>
            <ac:spMk id="85" creationId="{C2043354-14EB-A4B1-0A7D-BDBB223A7740}"/>
          </ac:spMkLst>
        </pc:spChg>
        <pc:grpChg chg="add mod ord">
          <ac:chgData name="Polanco Zanetta, Sebastian" userId="679afde1-f2ca-45a1-83ca-bc48414eb788" providerId="ADAL" clId="{B9C06509-25B1-47D3-980D-B34F6BE8753E}" dt="2025-04-29T20:14:54.564" v="19128"/>
          <ac:grpSpMkLst>
            <pc:docMk/>
            <pc:sldMk cId="1629867990" sldId="4461"/>
            <ac:grpSpMk id="80" creationId="{6ABE53E3-7D24-CA1B-EF93-181318E35F3F}"/>
          </ac:grpSpMkLst>
        </pc:grpChg>
        <pc:grpChg chg="add mod ord">
          <ac:chgData name="Polanco Zanetta, Sebastian" userId="679afde1-f2ca-45a1-83ca-bc48414eb788" providerId="ADAL" clId="{B9C06509-25B1-47D3-980D-B34F6BE8753E}" dt="2025-04-29T20:14:54.564" v="19130"/>
          <ac:grpSpMkLst>
            <pc:docMk/>
            <pc:sldMk cId="1629867990" sldId="4461"/>
            <ac:grpSpMk id="83" creationId="{D930F4E2-7A42-3653-EF7C-7283828EF049}"/>
          </ac:grpSpMkLst>
        </pc:grpChg>
        <pc:graphicFrameChg chg="mod">
          <ac:chgData name="Polanco Zanetta, Sebastian" userId="679afde1-f2ca-45a1-83ca-bc48414eb788" providerId="ADAL" clId="{B9C06509-25B1-47D3-980D-B34F6BE8753E}" dt="2025-04-29T20:14:54.580" v="19136"/>
          <ac:graphicFrameMkLst>
            <pc:docMk/>
            <pc:sldMk cId="1629867990" sldId="4461"/>
            <ac:graphicFrameMk id="7" creationId="{D6671726-3BCD-F3FA-F071-A4A61FC92580}"/>
          </ac:graphicFrameMkLst>
        </pc:graphicFrameChg>
        <pc:picChg chg="mod ord">
          <ac:chgData name="Polanco Zanetta, Sebastian" userId="679afde1-f2ca-45a1-83ca-bc48414eb788" providerId="ADAL" clId="{B9C06509-25B1-47D3-980D-B34F6BE8753E}" dt="2025-05-02T01:36:49.843" v="33830" actId="1038"/>
          <ac:picMkLst>
            <pc:docMk/>
            <pc:sldMk cId="1629867990" sldId="4461"/>
            <ac:picMk id="13" creationId="{1D97AB21-316F-A56C-8464-51BD9DF1C681}"/>
          </ac:picMkLst>
        </pc:picChg>
        <pc:cxnChg chg="mod ord">
          <ac:chgData name="Polanco Zanetta, Sebastian" userId="679afde1-f2ca-45a1-83ca-bc48414eb788" providerId="ADAL" clId="{B9C06509-25B1-47D3-980D-B34F6BE8753E}" dt="2025-04-29T20:14:54.549" v="19079"/>
          <ac:cxnSpMkLst>
            <pc:docMk/>
            <pc:sldMk cId="1629867990" sldId="4461"/>
            <ac:cxnSpMk id="14" creationId="{5CEC6A7E-BFFA-AA11-6617-E31859887DF2}"/>
          </ac:cxnSpMkLst>
        </pc:cxnChg>
        <pc:cxnChg chg="mod ord">
          <ac:chgData name="Polanco Zanetta, Sebastian" userId="679afde1-f2ca-45a1-83ca-bc48414eb788" providerId="ADAL" clId="{B9C06509-25B1-47D3-980D-B34F6BE8753E}" dt="2025-04-29T20:14:54.549" v="19081"/>
          <ac:cxnSpMkLst>
            <pc:docMk/>
            <pc:sldMk cId="1629867990" sldId="4461"/>
            <ac:cxnSpMk id="15" creationId="{D679126A-9FEA-A1B5-6082-DB91F9B6E39E}"/>
          </ac:cxnSpMkLst>
        </pc:cxnChg>
        <pc:cxnChg chg="mod ord">
          <ac:chgData name="Polanco Zanetta, Sebastian" userId="679afde1-f2ca-45a1-83ca-bc48414eb788" providerId="ADAL" clId="{B9C06509-25B1-47D3-980D-B34F6BE8753E}" dt="2025-04-29T20:14:54.549" v="19083"/>
          <ac:cxnSpMkLst>
            <pc:docMk/>
            <pc:sldMk cId="1629867990" sldId="4461"/>
            <ac:cxnSpMk id="16" creationId="{67102B31-5821-5C19-5B47-56C9749D70A7}"/>
          </ac:cxnSpMkLst>
        </pc:cxnChg>
        <pc:cxnChg chg="mod ord">
          <ac:chgData name="Polanco Zanetta, Sebastian" userId="679afde1-f2ca-45a1-83ca-bc48414eb788" providerId="ADAL" clId="{B9C06509-25B1-47D3-980D-B34F6BE8753E}" dt="2025-04-29T20:14:54.564" v="19085"/>
          <ac:cxnSpMkLst>
            <pc:docMk/>
            <pc:sldMk cId="1629867990" sldId="4461"/>
            <ac:cxnSpMk id="17" creationId="{4FEB73BC-034E-B6C6-B609-1DB14FC3030B}"/>
          </ac:cxnSpMkLst>
        </pc:cxnChg>
        <pc:cxnChg chg="mod ord">
          <ac:chgData name="Polanco Zanetta, Sebastian" userId="679afde1-f2ca-45a1-83ca-bc48414eb788" providerId="ADAL" clId="{B9C06509-25B1-47D3-980D-B34F6BE8753E}" dt="2025-04-29T20:14:54.564" v="19087"/>
          <ac:cxnSpMkLst>
            <pc:docMk/>
            <pc:sldMk cId="1629867990" sldId="4461"/>
            <ac:cxnSpMk id="18" creationId="{A860AC8E-3A5A-3790-2A50-A5958A2D4AC8}"/>
          </ac:cxnSpMkLst>
        </pc:cxnChg>
        <pc:cxnChg chg="mod ord">
          <ac:chgData name="Polanco Zanetta, Sebastian" userId="679afde1-f2ca-45a1-83ca-bc48414eb788" providerId="ADAL" clId="{B9C06509-25B1-47D3-980D-B34F6BE8753E}" dt="2025-04-29T20:14:54.564" v="19089"/>
          <ac:cxnSpMkLst>
            <pc:docMk/>
            <pc:sldMk cId="1629867990" sldId="4461"/>
            <ac:cxnSpMk id="19" creationId="{37A1C14D-F734-9329-9753-8160E4DE3911}"/>
          </ac:cxnSpMkLst>
        </pc:cxnChg>
        <pc:cxnChg chg="mod ord">
          <ac:chgData name="Polanco Zanetta, Sebastian" userId="679afde1-f2ca-45a1-83ca-bc48414eb788" providerId="ADAL" clId="{B9C06509-25B1-47D3-980D-B34F6BE8753E}" dt="2025-04-29T20:14:54.564" v="19104"/>
          <ac:cxnSpMkLst>
            <pc:docMk/>
            <pc:sldMk cId="1629867990" sldId="4461"/>
            <ac:cxnSpMk id="43" creationId="{A544184C-5650-0F49-79D2-C0074B07B5A8}"/>
          </ac:cxnSpMkLst>
        </pc:cxnChg>
        <pc:cxnChg chg="add mod ord">
          <ac:chgData name="Polanco Zanetta, Sebastian" userId="679afde1-f2ca-45a1-83ca-bc48414eb788" providerId="ADAL" clId="{B9C06509-25B1-47D3-980D-B34F6BE8753E}" dt="2025-04-29T20:14:54.564" v="19106"/>
          <ac:cxnSpMkLst>
            <pc:docMk/>
            <pc:sldMk cId="1629867990" sldId="4461"/>
            <ac:cxnSpMk id="44" creationId="{5D7B71DC-F139-ECE6-52AA-F1F75BB7F908}"/>
          </ac:cxnSpMkLst>
        </pc:cxnChg>
        <pc:cxnChg chg="mod ord">
          <ac:chgData name="Polanco Zanetta, Sebastian" userId="679afde1-f2ca-45a1-83ca-bc48414eb788" providerId="ADAL" clId="{B9C06509-25B1-47D3-980D-B34F6BE8753E}" dt="2025-04-29T20:14:54.564" v="19108"/>
          <ac:cxnSpMkLst>
            <pc:docMk/>
            <pc:sldMk cId="1629867990" sldId="4461"/>
            <ac:cxnSpMk id="45" creationId="{B3DEA2D6-3B26-15F3-BB80-64414E70E0FE}"/>
          </ac:cxnSpMkLst>
        </pc:cxnChg>
        <pc:cxnChg chg="add mod ord">
          <ac:chgData name="Polanco Zanetta, Sebastian" userId="679afde1-f2ca-45a1-83ca-bc48414eb788" providerId="ADAL" clId="{B9C06509-25B1-47D3-980D-B34F6BE8753E}" dt="2025-04-29T20:14:54.564" v="19110"/>
          <ac:cxnSpMkLst>
            <pc:docMk/>
            <pc:sldMk cId="1629867990" sldId="4461"/>
            <ac:cxnSpMk id="46" creationId="{C26E0BED-8DB7-AEFA-D57B-232E989B983A}"/>
          </ac:cxnSpMkLst>
        </pc:cxnChg>
        <pc:cxnChg chg="mod ord">
          <ac:chgData name="Polanco Zanetta, Sebastian" userId="679afde1-f2ca-45a1-83ca-bc48414eb788" providerId="ADAL" clId="{B9C06509-25B1-47D3-980D-B34F6BE8753E}" dt="2025-04-29T20:14:54.564" v="19112"/>
          <ac:cxnSpMkLst>
            <pc:docMk/>
            <pc:sldMk cId="1629867990" sldId="4461"/>
            <ac:cxnSpMk id="47" creationId="{FDE3A9DC-3DFE-5C71-B75C-72BDBB4248FE}"/>
          </ac:cxnSpMkLst>
        </pc:cxnChg>
        <pc:cxnChg chg="add mod ord">
          <ac:chgData name="Polanco Zanetta, Sebastian" userId="679afde1-f2ca-45a1-83ca-bc48414eb788" providerId="ADAL" clId="{B9C06509-25B1-47D3-980D-B34F6BE8753E}" dt="2025-04-29T20:14:54.564" v="19114"/>
          <ac:cxnSpMkLst>
            <pc:docMk/>
            <pc:sldMk cId="1629867990" sldId="4461"/>
            <ac:cxnSpMk id="48" creationId="{C0A3F0F2-6906-C61B-8785-971D803D377E}"/>
          </ac:cxnSpMkLst>
        </pc:cxnChg>
        <pc:cxnChg chg="mod ord">
          <ac:chgData name="Polanco Zanetta, Sebastian" userId="679afde1-f2ca-45a1-83ca-bc48414eb788" providerId="ADAL" clId="{B9C06509-25B1-47D3-980D-B34F6BE8753E}" dt="2025-04-29T20:14:54.564" v="19132"/>
          <ac:cxnSpMkLst>
            <pc:docMk/>
            <pc:sldMk cId="1629867990" sldId="4461"/>
            <ac:cxnSpMk id="86" creationId="{B7A6D01B-5615-E2D5-FAFD-8EF35437EA5A}"/>
          </ac:cxnSpMkLst>
        </pc:cxnChg>
      </pc:sldChg>
      <pc:sldChg chg="addSp delSp modSp mod modCm">
        <pc:chgData name="Polanco Zanetta, Sebastian" userId="679afde1-f2ca-45a1-83ca-bc48414eb788" providerId="ADAL" clId="{B9C06509-25B1-47D3-980D-B34F6BE8753E}" dt="2025-05-02T17:54:59.092" v="34693" actId="20577"/>
        <pc:sldMkLst>
          <pc:docMk/>
          <pc:sldMk cId="2798752304" sldId="4463"/>
        </pc:sldMkLst>
        <pc:spChg chg="add mod">
          <ac:chgData name="Polanco Zanetta, Sebastian" userId="679afde1-f2ca-45a1-83ca-bc48414eb788" providerId="ADAL" clId="{B9C06509-25B1-47D3-980D-B34F6BE8753E}" dt="2025-05-02T17:54:59.092" v="34693" actId="20577"/>
          <ac:spMkLst>
            <pc:docMk/>
            <pc:sldMk cId="2798752304" sldId="4463"/>
            <ac:spMk id="3" creationId="{AF704D12-DF26-2A97-D0B4-0B30AD478DD7}"/>
          </ac:spMkLst>
        </pc:spChg>
        <pc:spChg chg="add mod">
          <ac:chgData name="Polanco Zanetta, Sebastian" userId="679afde1-f2ca-45a1-83ca-bc48414eb788" providerId="ADAL" clId="{B9C06509-25B1-47D3-980D-B34F6BE8753E}" dt="2025-05-02T01:43:24.040" v="34058" actId="1076"/>
          <ac:spMkLst>
            <pc:docMk/>
            <pc:sldMk cId="2798752304" sldId="4463"/>
            <ac:spMk id="6" creationId="{DC20AEAF-2EBF-150B-6775-B341008E86B5}"/>
          </ac:spMkLst>
        </pc:spChg>
        <pc:spChg chg="add mod">
          <ac:chgData name="Polanco Zanetta, Sebastian" userId="679afde1-f2ca-45a1-83ca-bc48414eb788" providerId="ADAL" clId="{B9C06509-25B1-47D3-980D-B34F6BE8753E}" dt="2025-05-02T17:54:14.324" v="34670"/>
          <ac:spMkLst>
            <pc:docMk/>
            <pc:sldMk cId="2798752304" sldId="4463"/>
            <ac:spMk id="10" creationId="{9E460870-2F04-9D18-0A63-86ACCFD92C0B}"/>
          </ac:spMkLst>
        </pc:spChg>
        <pc:spChg chg="add mod">
          <ac:chgData name="Polanco Zanetta, Sebastian" userId="679afde1-f2ca-45a1-83ca-bc48414eb788" providerId="ADAL" clId="{B9C06509-25B1-47D3-980D-B34F6BE8753E}" dt="2025-04-22T18:44:06.199" v="5689" actId="57"/>
          <ac:spMkLst>
            <pc:docMk/>
            <pc:sldMk cId="2798752304" sldId="4463"/>
            <ac:spMk id="12" creationId="{CC2F6666-1545-F07C-0B1B-4AED6A6A86C1}"/>
          </ac:spMkLst>
        </pc:spChg>
        <pc:spChg chg="mod">
          <ac:chgData name="Polanco Zanetta, Sebastian" userId="679afde1-f2ca-45a1-83ca-bc48414eb788" providerId="ADAL" clId="{B9C06509-25B1-47D3-980D-B34F6BE8753E}" dt="2025-04-29T20:28:31.209" v="19184" actId="20577"/>
          <ac:spMkLst>
            <pc:docMk/>
            <pc:sldMk cId="2798752304" sldId="4463"/>
            <ac:spMk id="14" creationId="{18D47C41-52C2-31A3-29D5-822D74B62AF2}"/>
          </ac:spMkLst>
        </pc:spChg>
        <pc:spChg chg="mod">
          <ac:chgData name="Polanco Zanetta, Sebastian" userId="679afde1-f2ca-45a1-83ca-bc48414eb788" providerId="ADAL" clId="{B9C06509-25B1-47D3-980D-B34F6BE8753E}" dt="2025-04-28T21:45:51.643" v="18567" actId="20577"/>
          <ac:spMkLst>
            <pc:docMk/>
            <pc:sldMk cId="2798752304" sldId="4463"/>
            <ac:spMk id="15" creationId="{05ED091A-F71A-859B-F8CE-2063216E4FCC}"/>
          </ac:spMkLst>
        </pc:spChg>
        <pc:spChg chg="mod">
          <ac:chgData name="Polanco Zanetta, Sebastian" userId="679afde1-f2ca-45a1-83ca-bc48414eb788" providerId="ADAL" clId="{B9C06509-25B1-47D3-980D-B34F6BE8753E}" dt="2025-04-29T20:29:17.465" v="19190" actId="20577"/>
          <ac:spMkLst>
            <pc:docMk/>
            <pc:sldMk cId="2798752304" sldId="4463"/>
            <ac:spMk id="16" creationId="{E5A450CC-13FC-687E-730D-74DE6A286DDC}"/>
          </ac:spMkLst>
        </pc:spChg>
        <pc:spChg chg="add mod">
          <ac:chgData name="Polanco Zanetta, Sebastian" userId="679afde1-f2ca-45a1-83ca-bc48414eb788" providerId="ADAL" clId="{B9C06509-25B1-47D3-980D-B34F6BE8753E}" dt="2025-04-30T22:50:27.058" v="33698" actId="20577"/>
          <ac:spMkLst>
            <pc:docMk/>
            <pc:sldMk cId="2798752304" sldId="4463"/>
            <ac:spMk id="18" creationId="{6549801B-CCA9-B0CC-6A92-EF9635CF0163}"/>
          </ac:spMkLst>
        </pc:spChg>
        <pc:spChg chg="add mod">
          <ac:chgData name="Polanco Zanetta, Sebastian" userId="679afde1-f2ca-45a1-83ca-bc48414eb788" providerId="ADAL" clId="{B9C06509-25B1-47D3-980D-B34F6BE8753E}" dt="2025-04-22T18:45:21.606" v="5704" actId="1035"/>
          <ac:spMkLst>
            <pc:docMk/>
            <pc:sldMk cId="2798752304" sldId="4463"/>
            <ac:spMk id="20" creationId="{4F89E58D-5E95-C12F-787F-58562E13CC27}"/>
          </ac:spMkLst>
        </pc:spChg>
        <pc:spChg chg="add mod">
          <ac:chgData name="Polanco Zanetta, Sebastian" userId="679afde1-f2ca-45a1-83ca-bc48414eb788" providerId="ADAL" clId="{B9C06509-25B1-47D3-980D-B34F6BE8753E}" dt="2025-04-30T22:50:40.453" v="33704" actId="20577"/>
          <ac:spMkLst>
            <pc:docMk/>
            <pc:sldMk cId="2798752304" sldId="4463"/>
            <ac:spMk id="22" creationId="{15B5A5A8-2943-ECDD-5CB5-34269E7D5632}"/>
          </ac:spMkLst>
        </pc:spChg>
        <pc:graphicFrameChg chg="mod">
          <ac:chgData name="Polanco Zanetta, Sebastian" userId="679afde1-f2ca-45a1-83ca-bc48414eb788" providerId="ADAL" clId="{B9C06509-25B1-47D3-980D-B34F6BE8753E}" dt="2025-05-02T02:10:21.424" v="34060"/>
          <ac:graphicFrameMkLst>
            <pc:docMk/>
            <pc:sldMk cId="2798752304" sldId="4463"/>
            <ac:graphicFrameMk id="7" creationId="{D6671726-3BCD-F3FA-F071-A4A61FC92580}"/>
          </ac:graphicFrameMkLst>
        </pc:graphicFrameChg>
        <pc:extLst>
          <p:ext xmlns:p="http://schemas.openxmlformats.org/presentationml/2006/main" uri="{D6D511B9-2390-475A-947B-AFAB55BFBCF1}">
            <pc226:cmChg xmlns:pc226="http://schemas.microsoft.com/office/powerpoint/2022/06/main/command" chg="mod">
              <pc226:chgData name="Polanco Zanetta, Sebastian" userId="679afde1-f2ca-45a1-83ca-bc48414eb788" providerId="ADAL" clId="{B9C06509-25B1-47D3-980D-B34F6BE8753E}" dt="2025-05-02T17:54:59.092" v="34693" actId="20577"/>
              <pc2:cmMkLst xmlns:pc2="http://schemas.microsoft.com/office/powerpoint/2019/9/main/command">
                <pc:docMk/>
                <pc:sldMk cId="2798752304" sldId="4463"/>
                <pc2:cmMk id="{426F5A4A-3937-4C33-829B-95E616F62DE2}"/>
              </pc2:cmMkLst>
            </pc226:cmChg>
          </p:ext>
        </pc:extLst>
      </pc:sldChg>
      <pc:sldChg chg="addSp delSp modSp mod">
        <pc:chgData name="Polanco Zanetta, Sebastian" userId="679afde1-f2ca-45a1-83ca-bc48414eb788" providerId="ADAL" clId="{B9C06509-25B1-47D3-980D-B34F6BE8753E}" dt="2025-05-02T17:54:56.253" v="34691" actId="20577"/>
        <pc:sldMkLst>
          <pc:docMk/>
          <pc:sldMk cId="1760513304" sldId="4466"/>
        </pc:sldMkLst>
        <pc:spChg chg="add mod ord">
          <ac:chgData name="Polanco Zanetta, Sebastian" userId="679afde1-f2ca-45a1-83ca-bc48414eb788" providerId="ADAL" clId="{B9C06509-25B1-47D3-980D-B34F6BE8753E}" dt="2025-04-30T04:33:08.703" v="32580"/>
          <ac:spMkLst>
            <pc:docMk/>
            <pc:sldMk cId="1760513304" sldId="4466"/>
            <ac:spMk id="3" creationId="{B08A3FF0-4983-27BB-54EA-18657BFABA81}"/>
          </ac:spMkLst>
        </pc:spChg>
        <pc:spChg chg="add mod">
          <ac:chgData name="Polanco Zanetta, Sebastian" userId="679afde1-f2ca-45a1-83ca-bc48414eb788" providerId="ADAL" clId="{B9C06509-25B1-47D3-980D-B34F6BE8753E}" dt="2025-05-02T17:54:56.253" v="34691" actId="20577"/>
          <ac:spMkLst>
            <pc:docMk/>
            <pc:sldMk cId="1760513304" sldId="4466"/>
            <ac:spMk id="4" creationId="{6A7F2D4C-73BB-7B71-EB56-C0970BC21EF1}"/>
          </ac:spMkLst>
        </pc:spChg>
        <pc:spChg chg="mod">
          <ac:chgData name="Polanco Zanetta, Sebastian" userId="679afde1-f2ca-45a1-83ca-bc48414eb788" providerId="ADAL" clId="{B9C06509-25B1-47D3-980D-B34F6BE8753E}" dt="2025-04-30T04:33:08.703" v="32582"/>
          <ac:spMkLst>
            <pc:docMk/>
            <pc:sldMk cId="1760513304" sldId="4466"/>
            <ac:spMk id="5" creationId="{5B96047E-83F4-9D3B-AF5E-107A0AB0935C}"/>
          </ac:spMkLst>
        </pc:spChg>
        <pc:spChg chg="mod">
          <ac:chgData name="Polanco Zanetta, Sebastian" userId="679afde1-f2ca-45a1-83ca-bc48414eb788" providerId="ADAL" clId="{B9C06509-25B1-47D3-980D-B34F6BE8753E}" dt="2025-04-30T04:33:08.703" v="32583"/>
          <ac:spMkLst>
            <pc:docMk/>
            <pc:sldMk cId="1760513304" sldId="4466"/>
            <ac:spMk id="6" creationId="{067BCAAA-FCCE-2A54-FE5A-56B7AD12B151}"/>
          </ac:spMkLst>
        </pc:spChg>
        <pc:spChg chg="add mod">
          <ac:chgData name="Polanco Zanetta, Sebastian" userId="679afde1-f2ca-45a1-83ca-bc48414eb788" providerId="ADAL" clId="{B9C06509-25B1-47D3-980D-B34F6BE8753E}" dt="2025-05-02T17:54:11.465" v="34669"/>
          <ac:spMkLst>
            <pc:docMk/>
            <pc:sldMk cId="1760513304" sldId="4466"/>
            <ac:spMk id="9" creationId="{B21F7771-47AC-D11A-213B-D3BF64955180}"/>
          </ac:spMkLst>
        </pc:spChg>
        <pc:spChg chg="add mod">
          <ac:chgData name="Polanco Zanetta, Sebastian" userId="679afde1-f2ca-45a1-83ca-bc48414eb788" providerId="ADAL" clId="{B9C06509-25B1-47D3-980D-B34F6BE8753E}" dt="2025-04-30T04:33:08.703" v="32584"/>
          <ac:spMkLst>
            <pc:docMk/>
            <pc:sldMk cId="1760513304" sldId="4466"/>
            <ac:spMk id="11" creationId="{323E67C3-4B9A-021F-884F-DA0A964DC87E}"/>
          </ac:spMkLst>
        </pc:spChg>
        <pc:spChg chg="add mod">
          <ac:chgData name="Polanco Zanetta, Sebastian" userId="679afde1-f2ca-45a1-83ca-bc48414eb788" providerId="ADAL" clId="{B9C06509-25B1-47D3-980D-B34F6BE8753E}" dt="2025-04-30T04:33:08.713" v="32585"/>
          <ac:spMkLst>
            <pc:docMk/>
            <pc:sldMk cId="1760513304" sldId="4466"/>
            <ac:spMk id="12" creationId="{3629E269-B126-BAA8-B750-A51E3C746EBB}"/>
          </ac:spMkLst>
        </pc:spChg>
        <pc:spChg chg="mod">
          <ac:chgData name="Polanco Zanetta, Sebastian" userId="679afde1-f2ca-45a1-83ca-bc48414eb788" providerId="ADAL" clId="{B9C06509-25B1-47D3-980D-B34F6BE8753E}" dt="2025-04-30T04:33:08.713" v="32586"/>
          <ac:spMkLst>
            <pc:docMk/>
            <pc:sldMk cId="1760513304" sldId="4466"/>
            <ac:spMk id="13" creationId="{BD5E8216-3BD3-5372-5EF3-93871F125BEB}"/>
          </ac:spMkLst>
        </pc:spChg>
        <pc:spChg chg="add mod">
          <ac:chgData name="Polanco Zanetta, Sebastian" userId="679afde1-f2ca-45a1-83ca-bc48414eb788" providerId="ADAL" clId="{B9C06509-25B1-47D3-980D-B34F6BE8753E}" dt="2025-04-30T04:33:08.713" v="32587"/>
          <ac:spMkLst>
            <pc:docMk/>
            <pc:sldMk cId="1760513304" sldId="4466"/>
            <ac:spMk id="14" creationId="{88AC694A-8EFE-9FC6-1C22-72841EB70936}"/>
          </ac:spMkLst>
        </pc:spChg>
        <pc:spChg chg="mod">
          <ac:chgData name="Polanco Zanetta, Sebastian" userId="679afde1-f2ca-45a1-83ca-bc48414eb788" providerId="ADAL" clId="{B9C06509-25B1-47D3-980D-B34F6BE8753E}" dt="2025-04-30T04:33:08.713" v="32588"/>
          <ac:spMkLst>
            <pc:docMk/>
            <pc:sldMk cId="1760513304" sldId="4466"/>
            <ac:spMk id="15" creationId="{5DD406B0-0480-9895-9CFA-021624003F63}"/>
          </ac:spMkLst>
        </pc:spChg>
        <pc:spChg chg="add mod">
          <ac:chgData name="Polanco Zanetta, Sebastian" userId="679afde1-f2ca-45a1-83ca-bc48414eb788" providerId="ADAL" clId="{B9C06509-25B1-47D3-980D-B34F6BE8753E}" dt="2025-04-30T04:33:08.713" v="32589"/>
          <ac:spMkLst>
            <pc:docMk/>
            <pc:sldMk cId="1760513304" sldId="4466"/>
            <ac:spMk id="16" creationId="{24721483-781E-D48C-46EA-1508F36BB096}"/>
          </ac:spMkLst>
        </pc:spChg>
        <pc:spChg chg="mod ord">
          <ac:chgData name="Polanco Zanetta, Sebastian" userId="679afde1-f2ca-45a1-83ca-bc48414eb788" providerId="ADAL" clId="{B9C06509-25B1-47D3-980D-B34F6BE8753E}" dt="2025-04-30T04:33:08.715" v="32591"/>
          <ac:spMkLst>
            <pc:docMk/>
            <pc:sldMk cId="1760513304" sldId="4466"/>
            <ac:spMk id="17" creationId="{0A6F95A0-B8EA-543D-61B8-F4B8EA24B48C}"/>
          </ac:spMkLst>
        </pc:spChg>
        <pc:spChg chg="add mod ord">
          <ac:chgData name="Polanco Zanetta, Sebastian" userId="679afde1-f2ca-45a1-83ca-bc48414eb788" providerId="ADAL" clId="{B9C06509-25B1-47D3-980D-B34F6BE8753E}" dt="2025-04-30T04:33:08.715" v="32593"/>
          <ac:spMkLst>
            <pc:docMk/>
            <pc:sldMk cId="1760513304" sldId="4466"/>
            <ac:spMk id="18" creationId="{43AF2ACE-FA92-38BD-2F92-CAE2090B9830}"/>
          </ac:spMkLst>
        </pc:spChg>
        <pc:spChg chg="mod">
          <ac:chgData name="Polanco Zanetta, Sebastian" userId="679afde1-f2ca-45a1-83ca-bc48414eb788" providerId="ADAL" clId="{B9C06509-25B1-47D3-980D-B34F6BE8753E}" dt="2025-04-30T04:33:08.715" v="32594"/>
          <ac:spMkLst>
            <pc:docMk/>
            <pc:sldMk cId="1760513304" sldId="4466"/>
            <ac:spMk id="19" creationId="{EAFB09D3-300F-A0CE-4515-4D06409C4023}"/>
          </ac:spMkLst>
        </pc:spChg>
        <pc:spChg chg="add mod">
          <ac:chgData name="Polanco Zanetta, Sebastian" userId="679afde1-f2ca-45a1-83ca-bc48414eb788" providerId="ADAL" clId="{B9C06509-25B1-47D3-980D-B34F6BE8753E}" dt="2025-04-30T04:33:08.715" v="32595"/>
          <ac:spMkLst>
            <pc:docMk/>
            <pc:sldMk cId="1760513304" sldId="4466"/>
            <ac:spMk id="20" creationId="{63D07D72-F8A9-C138-7C59-A8F46A9F19DF}"/>
          </ac:spMkLst>
        </pc:spChg>
        <pc:spChg chg="mod ord">
          <ac:chgData name="Polanco Zanetta, Sebastian" userId="679afde1-f2ca-45a1-83ca-bc48414eb788" providerId="ADAL" clId="{B9C06509-25B1-47D3-980D-B34F6BE8753E}" dt="2025-04-30T04:33:08.715" v="32599"/>
          <ac:spMkLst>
            <pc:docMk/>
            <pc:sldMk cId="1760513304" sldId="4466"/>
            <ac:spMk id="22" creationId="{A36F0498-BC85-D29E-1325-EA48FA70FB6A}"/>
          </ac:spMkLst>
        </pc:spChg>
        <pc:spChg chg="mod">
          <ac:chgData name="Polanco Zanetta, Sebastian" userId="679afde1-f2ca-45a1-83ca-bc48414eb788" providerId="ADAL" clId="{B9C06509-25B1-47D3-980D-B34F6BE8753E}" dt="2025-04-30T04:33:08.715" v="32600"/>
          <ac:spMkLst>
            <pc:docMk/>
            <pc:sldMk cId="1760513304" sldId="4466"/>
            <ac:spMk id="23" creationId="{E115D2AE-C188-8965-1106-4F0A58322D49}"/>
          </ac:spMkLst>
        </pc:spChg>
        <pc:spChg chg="add mod ord">
          <ac:chgData name="Polanco Zanetta, Sebastian" userId="679afde1-f2ca-45a1-83ca-bc48414eb788" providerId="ADAL" clId="{B9C06509-25B1-47D3-980D-B34F6BE8753E}" dt="2025-04-30T04:33:08.715" v="32602"/>
          <ac:spMkLst>
            <pc:docMk/>
            <pc:sldMk cId="1760513304" sldId="4466"/>
            <ac:spMk id="24" creationId="{AE78BB7C-B211-4C8E-D391-E9A90833CB89}"/>
          </ac:spMkLst>
        </pc:spChg>
        <pc:spChg chg="add mod ord">
          <ac:chgData name="Polanco Zanetta, Sebastian" userId="679afde1-f2ca-45a1-83ca-bc48414eb788" providerId="ADAL" clId="{B9C06509-25B1-47D3-980D-B34F6BE8753E}" dt="2025-04-30T04:33:08.715" v="32612"/>
          <ac:spMkLst>
            <pc:docMk/>
            <pc:sldMk cId="1760513304" sldId="4466"/>
            <ac:spMk id="29" creationId="{57A96C27-4A39-0B14-E7D6-B462E03686CF}"/>
          </ac:spMkLst>
        </pc:spChg>
        <pc:spChg chg="add mod ord">
          <ac:chgData name="Polanco Zanetta, Sebastian" userId="679afde1-f2ca-45a1-83ca-bc48414eb788" providerId="ADAL" clId="{B9C06509-25B1-47D3-980D-B34F6BE8753E}" dt="2025-04-30T04:33:08.715" v="32614"/>
          <ac:spMkLst>
            <pc:docMk/>
            <pc:sldMk cId="1760513304" sldId="4466"/>
            <ac:spMk id="30" creationId="{BD05B8E3-5CAB-F8C7-053E-3A568A413E9C}"/>
          </ac:spMkLst>
        </pc:spChg>
        <pc:spChg chg="mod ord">
          <ac:chgData name="Polanco Zanetta, Sebastian" userId="679afde1-f2ca-45a1-83ca-bc48414eb788" providerId="ADAL" clId="{B9C06509-25B1-47D3-980D-B34F6BE8753E}" dt="2025-04-30T04:33:08.715" v="32616"/>
          <ac:spMkLst>
            <pc:docMk/>
            <pc:sldMk cId="1760513304" sldId="4466"/>
            <ac:spMk id="31" creationId="{7F63668B-7CC3-9744-BE36-109DF91AD4EA}"/>
          </ac:spMkLst>
        </pc:spChg>
        <pc:spChg chg="mod ord">
          <ac:chgData name="Polanco Zanetta, Sebastian" userId="679afde1-f2ca-45a1-83ca-bc48414eb788" providerId="ADAL" clId="{B9C06509-25B1-47D3-980D-B34F6BE8753E}" dt="2025-04-30T04:33:08.724" v="32620"/>
          <ac:spMkLst>
            <pc:docMk/>
            <pc:sldMk cId="1760513304" sldId="4466"/>
            <ac:spMk id="37" creationId="{7C65B210-8547-028D-D2BC-823CC4BEDDF7}"/>
          </ac:spMkLst>
        </pc:spChg>
        <pc:spChg chg="mod ord">
          <ac:chgData name="Polanco Zanetta, Sebastian" userId="679afde1-f2ca-45a1-83ca-bc48414eb788" providerId="ADAL" clId="{B9C06509-25B1-47D3-980D-B34F6BE8753E}" dt="2025-04-30T04:33:08.724" v="32622"/>
          <ac:spMkLst>
            <pc:docMk/>
            <pc:sldMk cId="1760513304" sldId="4466"/>
            <ac:spMk id="38" creationId="{6CBA2249-020F-54D5-FB27-C89C12EA7F5A}"/>
          </ac:spMkLst>
        </pc:spChg>
        <pc:spChg chg="mod ord">
          <ac:chgData name="Polanco Zanetta, Sebastian" userId="679afde1-f2ca-45a1-83ca-bc48414eb788" providerId="ADAL" clId="{B9C06509-25B1-47D3-980D-B34F6BE8753E}" dt="2025-04-30T04:33:08.724" v="32624"/>
          <ac:spMkLst>
            <pc:docMk/>
            <pc:sldMk cId="1760513304" sldId="4466"/>
            <ac:spMk id="39" creationId="{D9DB4E9F-D54A-D737-7929-0FCBA6BE8CEB}"/>
          </ac:spMkLst>
        </pc:spChg>
        <pc:spChg chg="mod ord">
          <ac:chgData name="Polanco Zanetta, Sebastian" userId="679afde1-f2ca-45a1-83ca-bc48414eb788" providerId="ADAL" clId="{B9C06509-25B1-47D3-980D-B34F6BE8753E}" dt="2025-04-30T04:33:08.724" v="32626"/>
          <ac:spMkLst>
            <pc:docMk/>
            <pc:sldMk cId="1760513304" sldId="4466"/>
            <ac:spMk id="40" creationId="{D5D6E826-E0D3-8418-D2D1-609C11BC78EB}"/>
          </ac:spMkLst>
        </pc:spChg>
        <pc:spChg chg="add mod ord topLvl">
          <ac:chgData name="Polanco Zanetta, Sebastian" userId="679afde1-f2ca-45a1-83ca-bc48414eb788" providerId="ADAL" clId="{B9C06509-25B1-47D3-980D-B34F6BE8753E}" dt="2025-04-30T04:33:08.726" v="32628"/>
          <ac:spMkLst>
            <pc:docMk/>
            <pc:sldMk cId="1760513304" sldId="4466"/>
            <ac:spMk id="41" creationId="{F6E4B8B5-A645-9A31-FCFB-E59029D28D4C}"/>
          </ac:spMkLst>
        </pc:spChg>
        <pc:spChg chg="add mod ord topLvl">
          <ac:chgData name="Polanco Zanetta, Sebastian" userId="679afde1-f2ca-45a1-83ca-bc48414eb788" providerId="ADAL" clId="{B9C06509-25B1-47D3-980D-B34F6BE8753E}" dt="2025-04-30T04:33:08.726" v="32630"/>
          <ac:spMkLst>
            <pc:docMk/>
            <pc:sldMk cId="1760513304" sldId="4466"/>
            <ac:spMk id="42" creationId="{190CD982-3032-FA49-360B-1BD57D45BD2E}"/>
          </ac:spMkLst>
        </pc:spChg>
        <pc:spChg chg="add mod ord topLvl">
          <ac:chgData name="Polanco Zanetta, Sebastian" userId="679afde1-f2ca-45a1-83ca-bc48414eb788" providerId="ADAL" clId="{B9C06509-25B1-47D3-980D-B34F6BE8753E}" dt="2025-04-30T04:33:08.726" v="32632"/>
          <ac:spMkLst>
            <pc:docMk/>
            <pc:sldMk cId="1760513304" sldId="4466"/>
            <ac:spMk id="43" creationId="{C3933C73-95CB-1311-7A7E-A0926049745A}"/>
          </ac:spMkLst>
        </pc:spChg>
        <pc:spChg chg="add mod ord topLvl">
          <ac:chgData name="Polanco Zanetta, Sebastian" userId="679afde1-f2ca-45a1-83ca-bc48414eb788" providerId="ADAL" clId="{B9C06509-25B1-47D3-980D-B34F6BE8753E}" dt="2025-04-30T04:33:08.726" v="32634"/>
          <ac:spMkLst>
            <pc:docMk/>
            <pc:sldMk cId="1760513304" sldId="4466"/>
            <ac:spMk id="44" creationId="{6BDB48A2-1F73-941B-0E25-5658015278EF}"/>
          </ac:spMkLst>
        </pc:spChg>
        <pc:spChg chg="add mod topLvl">
          <ac:chgData name="Polanco Zanetta, Sebastian" userId="679afde1-f2ca-45a1-83ca-bc48414eb788" providerId="ADAL" clId="{B9C06509-25B1-47D3-980D-B34F6BE8753E}" dt="2025-04-30T04:33:08.726" v="32635"/>
          <ac:spMkLst>
            <pc:docMk/>
            <pc:sldMk cId="1760513304" sldId="4466"/>
            <ac:spMk id="45" creationId="{8C65319F-1504-A4AA-9DF6-83063ED8FA24}"/>
          </ac:spMkLst>
        </pc:spChg>
        <pc:spChg chg="add mod topLvl">
          <ac:chgData name="Polanco Zanetta, Sebastian" userId="679afde1-f2ca-45a1-83ca-bc48414eb788" providerId="ADAL" clId="{B9C06509-25B1-47D3-980D-B34F6BE8753E}" dt="2025-04-30T04:33:08.726" v="32638"/>
          <ac:spMkLst>
            <pc:docMk/>
            <pc:sldMk cId="1760513304" sldId="4466"/>
            <ac:spMk id="47" creationId="{190E0BD8-E456-B19D-EA46-561B0AE56E50}"/>
          </ac:spMkLst>
        </pc:spChg>
        <pc:spChg chg="add mod topLvl">
          <ac:chgData name="Polanco Zanetta, Sebastian" userId="679afde1-f2ca-45a1-83ca-bc48414eb788" providerId="ADAL" clId="{B9C06509-25B1-47D3-980D-B34F6BE8753E}" dt="2025-04-30T04:33:08.726" v="32643"/>
          <ac:spMkLst>
            <pc:docMk/>
            <pc:sldMk cId="1760513304" sldId="4466"/>
            <ac:spMk id="50" creationId="{6FAFC467-3DBE-39D3-2A05-82BC4B9C60EA}"/>
          </ac:spMkLst>
        </pc:spChg>
        <pc:spChg chg="mod">
          <ac:chgData name="Polanco Zanetta, Sebastian" userId="679afde1-f2ca-45a1-83ca-bc48414eb788" providerId="ADAL" clId="{B9C06509-25B1-47D3-980D-B34F6BE8753E}" dt="2025-04-30T04:33:08.726" v="32644"/>
          <ac:spMkLst>
            <pc:docMk/>
            <pc:sldMk cId="1760513304" sldId="4466"/>
            <ac:spMk id="51" creationId="{EA2CE2BD-B485-5775-FE95-A8F523DAA5E6}"/>
          </ac:spMkLst>
        </pc:spChg>
        <pc:spChg chg="add mod topLvl">
          <ac:chgData name="Polanco Zanetta, Sebastian" userId="679afde1-f2ca-45a1-83ca-bc48414eb788" providerId="ADAL" clId="{B9C06509-25B1-47D3-980D-B34F6BE8753E}" dt="2025-04-30T04:33:08.726" v="32645"/>
          <ac:spMkLst>
            <pc:docMk/>
            <pc:sldMk cId="1760513304" sldId="4466"/>
            <ac:spMk id="52" creationId="{E8C236AA-360D-3578-8A8C-23EA749E988E}"/>
          </ac:spMkLst>
        </pc:spChg>
        <pc:spChg chg="add mod topLvl">
          <ac:chgData name="Polanco Zanetta, Sebastian" userId="679afde1-f2ca-45a1-83ca-bc48414eb788" providerId="ADAL" clId="{B9C06509-25B1-47D3-980D-B34F6BE8753E}" dt="2025-04-30T04:33:08.726" v="32646"/>
          <ac:spMkLst>
            <pc:docMk/>
            <pc:sldMk cId="1760513304" sldId="4466"/>
            <ac:spMk id="53" creationId="{0930C043-C403-DA17-39F3-40E7708B00A3}"/>
          </ac:spMkLst>
        </pc:spChg>
        <pc:spChg chg="add mod topLvl">
          <ac:chgData name="Polanco Zanetta, Sebastian" userId="679afde1-f2ca-45a1-83ca-bc48414eb788" providerId="ADAL" clId="{B9C06509-25B1-47D3-980D-B34F6BE8753E}" dt="2025-04-30T04:33:08.726" v="32647"/>
          <ac:spMkLst>
            <pc:docMk/>
            <pc:sldMk cId="1760513304" sldId="4466"/>
            <ac:spMk id="54" creationId="{29E53A45-9CC3-79E9-C9F4-176B68041D40}"/>
          </ac:spMkLst>
        </pc:spChg>
        <pc:spChg chg="mod">
          <ac:chgData name="Polanco Zanetta, Sebastian" userId="679afde1-f2ca-45a1-83ca-bc48414eb788" providerId="ADAL" clId="{B9C06509-25B1-47D3-980D-B34F6BE8753E}" dt="2025-04-30T04:33:08.726" v="32648"/>
          <ac:spMkLst>
            <pc:docMk/>
            <pc:sldMk cId="1760513304" sldId="4466"/>
            <ac:spMk id="55" creationId="{1E867E73-0862-F1B5-FEF0-9F6F118F16DC}"/>
          </ac:spMkLst>
        </pc:spChg>
        <pc:spChg chg="add mod ord">
          <ac:chgData name="Polanco Zanetta, Sebastian" userId="679afde1-f2ca-45a1-83ca-bc48414eb788" providerId="ADAL" clId="{B9C06509-25B1-47D3-980D-B34F6BE8753E}" dt="2025-04-30T04:33:08.726" v="32650"/>
          <ac:spMkLst>
            <pc:docMk/>
            <pc:sldMk cId="1760513304" sldId="4466"/>
            <ac:spMk id="57" creationId="{B77D1674-79FC-8311-A857-D1E5F84DFB98}"/>
          </ac:spMkLst>
        </pc:spChg>
        <pc:graphicFrameChg chg="mod">
          <ac:chgData name="Polanco Zanetta, Sebastian" userId="679afde1-f2ca-45a1-83ca-bc48414eb788" providerId="ADAL" clId="{B9C06509-25B1-47D3-980D-B34F6BE8753E}" dt="2025-04-30T04:33:08.736" v="32656"/>
          <ac:graphicFrameMkLst>
            <pc:docMk/>
            <pc:sldMk cId="1760513304" sldId="4466"/>
            <ac:graphicFrameMk id="7" creationId="{D6671726-3BCD-F3FA-F071-A4A61FC92580}"/>
          </ac:graphicFrameMkLst>
        </pc:graphicFrameChg>
        <pc:picChg chg="mod ord">
          <ac:chgData name="Polanco Zanetta, Sebastian" userId="679afde1-f2ca-45a1-83ca-bc48414eb788" providerId="ADAL" clId="{B9C06509-25B1-47D3-980D-B34F6BE8753E}" dt="2025-04-30T04:33:08.715" v="32604"/>
          <ac:picMkLst>
            <pc:docMk/>
            <pc:sldMk cId="1760513304" sldId="4466"/>
            <ac:picMk id="25" creationId="{0CE1485D-BEA2-1CCC-3994-99208FBDE79B}"/>
          </ac:picMkLst>
        </pc:picChg>
        <pc:picChg chg="mod ord">
          <ac:chgData name="Polanco Zanetta, Sebastian" userId="679afde1-f2ca-45a1-83ca-bc48414eb788" providerId="ADAL" clId="{B9C06509-25B1-47D3-980D-B34F6BE8753E}" dt="2025-04-30T04:33:08.715" v="32606"/>
          <ac:picMkLst>
            <pc:docMk/>
            <pc:sldMk cId="1760513304" sldId="4466"/>
            <ac:picMk id="26" creationId="{F69F793D-52A0-FAF8-5ACA-8FEBDDB43BE5}"/>
          </ac:picMkLst>
        </pc:picChg>
        <pc:picChg chg="mod ord">
          <ac:chgData name="Polanco Zanetta, Sebastian" userId="679afde1-f2ca-45a1-83ca-bc48414eb788" providerId="ADAL" clId="{B9C06509-25B1-47D3-980D-B34F6BE8753E}" dt="2025-04-30T04:33:08.715" v="32608"/>
          <ac:picMkLst>
            <pc:docMk/>
            <pc:sldMk cId="1760513304" sldId="4466"/>
            <ac:picMk id="27" creationId="{48758308-3B80-D38E-70A1-553F60304E4E}"/>
          </ac:picMkLst>
        </pc:picChg>
        <pc:picChg chg="add del mod ord">
          <ac:chgData name="Polanco Zanetta, Sebastian" userId="679afde1-f2ca-45a1-83ca-bc48414eb788" providerId="ADAL" clId="{B9C06509-25B1-47D3-980D-B34F6BE8753E}" dt="2025-04-30T04:33:08.715" v="32618"/>
          <ac:picMkLst>
            <pc:docMk/>
            <pc:sldMk cId="1760513304" sldId="4466"/>
            <ac:picMk id="32" creationId="{AF7D8118-2D9E-5A63-96EB-2475C79AF496}"/>
          </ac:picMkLst>
        </pc:picChg>
        <pc:picChg chg="mod ord">
          <ac:chgData name="Polanco Zanetta, Sebastian" userId="679afde1-f2ca-45a1-83ca-bc48414eb788" providerId="ADAL" clId="{B9C06509-25B1-47D3-980D-B34F6BE8753E}" dt="2025-04-30T04:33:08.726" v="32637"/>
          <ac:picMkLst>
            <pc:docMk/>
            <pc:sldMk cId="1760513304" sldId="4466"/>
            <ac:picMk id="46" creationId="{AEA66CA1-0CE2-AA53-94CB-E6AB27B6A7A0}"/>
          </ac:picMkLst>
        </pc:picChg>
        <pc:picChg chg="mod ord">
          <ac:chgData name="Polanco Zanetta, Sebastian" userId="679afde1-f2ca-45a1-83ca-bc48414eb788" providerId="ADAL" clId="{B9C06509-25B1-47D3-980D-B34F6BE8753E}" dt="2025-04-30T04:33:08.726" v="32640"/>
          <ac:picMkLst>
            <pc:docMk/>
            <pc:sldMk cId="1760513304" sldId="4466"/>
            <ac:picMk id="48" creationId="{BC1DFDF6-871A-9428-E2D1-1E0CE6FDA023}"/>
          </ac:picMkLst>
        </pc:picChg>
        <pc:picChg chg="mod ord">
          <ac:chgData name="Polanco Zanetta, Sebastian" userId="679afde1-f2ca-45a1-83ca-bc48414eb788" providerId="ADAL" clId="{B9C06509-25B1-47D3-980D-B34F6BE8753E}" dt="2025-04-30T04:33:08.726" v="32642"/>
          <ac:picMkLst>
            <pc:docMk/>
            <pc:sldMk cId="1760513304" sldId="4466"/>
            <ac:picMk id="49" creationId="{AB3CE6F8-2030-56C5-C152-38956353BE7F}"/>
          </ac:picMkLst>
        </pc:picChg>
        <pc:picChg chg="add mod ord">
          <ac:chgData name="Polanco Zanetta, Sebastian" userId="679afde1-f2ca-45a1-83ca-bc48414eb788" providerId="ADAL" clId="{B9C06509-25B1-47D3-980D-B34F6BE8753E}" dt="2025-04-30T04:33:08.726" v="32652"/>
          <ac:picMkLst>
            <pc:docMk/>
            <pc:sldMk cId="1760513304" sldId="4466"/>
            <ac:picMk id="59" creationId="{CFDA125E-3C80-A721-01E5-5427B25C68CE}"/>
          </ac:picMkLst>
        </pc:picChg>
        <pc:cxnChg chg="mod ord">
          <ac:chgData name="Polanco Zanetta, Sebastian" userId="679afde1-f2ca-45a1-83ca-bc48414eb788" providerId="ADAL" clId="{B9C06509-25B1-47D3-980D-B34F6BE8753E}" dt="2025-04-30T04:33:08.715" v="32610"/>
          <ac:cxnSpMkLst>
            <pc:docMk/>
            <pc:sldMk cId="1760513304" sldId="4466"/>
            <ac:cxnSpMk id="28" creationId="{7B9BA542-7FCF-A6FE-7E00-D290571E028B}"/>
          </ac:cxnSpMkLst>
        </pc:cxnChg>
      </pc:sldChg>
      <pc:sldChg chg="addSp delSp modSp mod ord modCm">
        <pc:chgData name="Polanco Zanetta, Sebastian" userId="679afde1-f2ca-45a1-83ca-bc48414eb788" providerId="ADAL" clId="{B9C06509-25B1-47D3-980D-B34F6BE8753E}" dt="2025-05-02T17:55:56.760" v="34695" actId="20577"/>
        <pc:sldMkLst>
          <pc:docMk/>
          <pc:sldMk cId="3110330266" sldId="4467"/>
        </pc:sldMkLst>
        <pc:spChg chg="add mod ord">
          <ac:chgData name="Polanco Zanetta, Sebastian" userId="679afde1-f2ca-45a1-83ca-bc48414eb788" providerId="ADAL" clId="{B9C06509-25B1-47D3-980D-B34F6BE8753E}" dt="2025-05-02T17:54:42.865" v="34681" actId="1035"/>
          <ac:spMkLst>
            <pc:docMk/>
            <pc:sldMk cId="3110330266" sldId="4467"/>
            <ac:spMk id="2" creationId="{602AB1BD-0A58-4EAE-AC3D-2B6E9C5C9855}"/>
          </ac:spMkLst>
        </pc:spChg>
        <pc:spChg chg="add mod">
          <ac:chgData name="Polanco Zanetta, Sebastian" userId="679afde1-f2ca-45a1-83ca-bc48414eb788" providerId="ADAL" clId="{B9C06509-25B1-47D3-980D-B34F6BE8753E}" dt="2025-05-02T17:53:55.693" v="34661"/>
          <ac:spMkLst>
            <pc:docMk/>
            <pc:sldMk cId="3110330266" sldId="4467"/>
            <ac:spMk id="4" creationId="{E5154449-25E0-EDC1-F176-11A18205EC36}"/>
          </ac:spMkLst>
        </pc:spChg>
        <pc:spChg chg="add mod ord">
          <ac:chgData name="Polanco Zanetta, Sebastian" userId="679afde1-f2ca-45a1-83ca-bc48414eb788" providerId="ADAL" clId="{B9C06509-25B1-47D3-980D-B34F6BE8753E}" dt="2025-05-02T16:32:03.453" v="34588"/>
          <ac:spMkLst>
            <pc:docMk/>
            <pc:sldMk cId="3110330266" sldId="4467"/>
            <ac:spMk id="5" creationId="{C437BF02-472D-CCD6-FD5A-E3D7F54EAB8E}"/>
          </ac:spMkLst>
        </pc:spChg>
        <pc:spChg chg="mod">
          <ac:chgData name="Polanco Zanetta, Sebastian" userId="679afde1-f2ca-45a1-83ca-bc48414eb788" providerId="ADAL" clId="{B9C06509-25B1-47D3-980D-B34F6BE8753E}" dt="2025-04-22T18:53:23.761" v="5881" actId="403"/>
          <ac:spMkLst>
            <pc:docMk/>
            <pc:sldMk cId="3110330266" sldId="4467"/>
            <ac:spMk id="10" creationId="{952AF81B-3075-5780-84D5-F9928B074605}"/>
          </ac:spMkLst>
        </pc:spChg>
        <pc:spChg chg="mod">
          <ac:chgData name="Polanco Zanetta, Sebastian" userId="679afde1-f2ca-45a1-83ca-bc48414eb788" providerId="ADAL" clId="{B9C06509-25B1-47D3-980D-B34F6BE8753E}" dt="2025-05-02T16:32:03.453" v="34584"/>
          <ac:spMkLst>
            <pc:docMk/>
            <pc:sldMk cId="3110330266" sldId="4467"/>
            <ac:spMk id="13" creationId="{E1155BB1-9302-DCB7-58D8-3733BC839F4F}"/>
          </ac:spMkLst>
        </pc:spChg>
        <pc:spChg chg="mod">
          <ac:chgData name="Polanco Zanetta, Sebastian" userId="679afde1-f2ca-45a1-83ca-bc48414eb788" providerId="ADAL" clId="{B9C06509-25B1-47D3-980D-B34F6BE8753E}" dt="2025-05-02T17:55:56.760" v="34695" actId="20577"/>
          <ac:spMkLst>
            <pc:docMk/>
            <pc:sldMk cId="3110330266" sldId="4467"/>
            <ac:spMk id="23" creationId="{8742FF55-FD65-1954-FE38-F21382267185}"/>
          </ac:spMkLst>
        </pc:spChg>
        <pc:spChg chg="mod">
          <ac:chgData name="Polanco Zanetta, Sebastian" userId="679afde1-f2ca-45a1-83ca-bc48414eb788" providerId="ADAL" clId="{B9C06509-25B1-47D3-980D-B34F6BE8753E}" dt="2025-04-22T18:53:25.933" v="5882" actId="403"/>
          <ac:spMkLst>
            <pc:docMk/>
            <pc:sldMk cId="3110330266" sldId="4467"/>
            <ac:spMk id="25" creationId="{DD07C8CE-2F81-0CA9-0F05-7D060A274763}"/>
          </ac:spMkLst>
        </pc:spChg>
        <pc:spChg chg="mod">
          <ac:chgData name="Polanco Zanetta, Sebastian" userId="679afde1-f2ca-45a1-83ca-bc48414eb788" providerId="ADAL" clId="{B9C06509-25B1-47D3-980D-B34F6BE8753E}" dt="2025-05-02T16:30:08.345" v="34510" actId="20577"/>
          <ac:spMkLst>
            <pc:docMk/>
            <pc:sldMk cId="3110330266" sldId="4467"/>
            <ac:spMk id="26" creationId="{4635E341-ED4B-9C56-5C8D-CFDBF0D95231}"/>
          </ac:spMkLst>
        </pc:spChg>
        <pc:spChg chg="add mod ord">
          <ac:chgData name="Polanco Zanetta, Sebastian" userId="679afde1-f2ca-45a1-83ca-bc48414eb788" providerId="ADAL" clId="{B9C06509-25B1-47D3-980D-B34F6BE8753E}" dt="2025-05-02T16:32:03.453" v="34594"/>
          <ac:spMkLst>
            <pc:docMk/>
            <pc:sldMk cId="3110330266" sldId="4467"/>
            <ac:spMk id="27" creationId="{FB15255C-BF7C-EE6C-30A8-862C725475F8}"/>
          </ac:spMkLst>
        </pc:spChg>
        <pc:spChg chg="add mod ord">
          <ac:chgData name="Polanco Zanetta, Sebastian" userId="679afde1-f2ca-45a1-83ca-bc48414eb788" providerId="ADAL" clId="{B9C06509-25B1-47D3-980D-B34F6BE8753E}" dt="2025-05-02T16:32:03.453" v="34607"/>
          <ac:spMkLst>
            <pc:docMk/>
            <pc:sldMk cId="3110330266" sldId="4467"/>
            <ac:spMk id="58" creationId="{6F4F8E82-EF92-5563-A2E2-C18B322EA4CD}"/>
          </ac:spMkLst>
        </pc:spChg>
        <pc:spChg chg="add mod ord">
          <ac:chgData name="Polanco Zanetta, Sebastian" userId="679afde1-f2ca-45a1-83ca-bc48414eb788" providerId="ADAL" clId="{B9C06509-25B1-47D3-980D-B34F6BE8753E}" dt="2025-05-02T16:32:03.453" v="34581"/>
          <ac:spMkLst>
            <pc:docMk/>
            <pc:sldMk cId="3110330266" sldId="4467"/>
            <ac:spMk id="60" creationId="{B54F7647-63BA-1BD8-2528-0A46738ADBD8}"/>
          </ac:spMkLst>
        </pc:spChg>
        <pc:grpChg chg="add mod ord">
          <ac:chgData name="Polanco Zanetta, Sebastian" userId="679afde1-f2ca-45a1-83ca-bc48414eb788" providerId="ADAL" clId="{B9C06509-25B1-47D3-980D-B34F6BE8753E}" dt="2025-05-02T16:32:03.453" v="34590"/>
          <ac:grpSpMkLst>
            <pc:docMk/>
            <pc:sldMk cId="3110330266" sldId="4467"/>
            <ac:grpSpMk id="9" creationId="{832F538D-AA3A-FB72-21E9-4F10EBE34DA5}"/>
          </ac:grpSpMkLst>
        </pc:grpChg>
        <pc:grpChg chg="add mod ord">
          <ac:chgData name="Polanco Zanetta, Sebastian" userId="679afde1-f2ca-45a1-83ca-bc48414eb788" providerId="ADAL" clId="{B9C06509-25B1-47D3-980D-B34F6BE8753E}" dt="2025-05-02T16:32:03.453" v="34592"/>
          <ac:grpSpMkLst>
            <pc:docMk/>
            <pc:sldMk cId="3110330266" sldId="4467"/>
            <ac:grpSpMk id="24" creationId="{25C6908D-AB11-799C-72CB-AFA3EF6E7FDC}"/>
          </ac:grpSpMkLst>
        </pc:grpChg>
        <pc:graphicFrameChg chg="mod">
          <ac:chgData name="Polanco Zanetta, Sebastian" userId="679afde1-f2ca-45a1-83ca-bc48414eb788" providerId="ADAL" clId="{B9C06509-25B1-47D3-980D-B34F6BE8753E}" dt="2025-05-02T16:32:03.468" v="34612"/>
          <ac:graphicFrameMkLst>
            <pc:docMk/>
            <pc:sldMk cId="3110330266" sldId="4467"/>
            <ac:graphicFrameMk id="7" creationId="{D6671726-3BCD-F3FA-F071-A4A61FC92580}"/>
          </ac:graphicFrameMkLst>
        </pc:graphicFrameChg>
        <pc:picChg chg="mod ord">
          <ac:chgData name="Polanco Zanetta, Sebastian" userId="679afde1-f2ca-45a1-83ca-bc48414eb788" providerId="ADAL" clId="{B9C06509-25B1-47D3-980D-B34F6BE8753E}" dt="2025-05-02T17:50:06.515" v="34652" actId="14100"/>
          <ac:picMkLst>
            <pc:docMk/>
            <pc:sldMk cId="3110330266" sldId="4467"/>
            <ac:picMk id="48" creationId="{FB1E5F11-58F6-DCB3-1179-FB34140E407C}"/>
          </ac:picMkLst>
        </pc:picChg>
        <pc:extLst>
          <p:ext xmlns:p="http://schemas.openxmlformats.org/presentationml/2006/main" uri="{D6D511B9-2390-475A-947B-AFAB55BFBCF1}">
            <pc226:cmChg xmlns:pc226="http://schemas.microsoft.com/office/powerpoint/2022/06/main/command" chg="mod">
              <pc226:chgData name="Polanco Zanetta, Sebastian" userId="679afde1-f2ca-45a1-83ca-bc48414eb788" providerId="ADAL" clId="{B9C06509-25B1-47D3-980D-B34F6BE8753E}" dt="2025-05-02T17:55:56.760" v="34695" actId="20577"/>
              <pc2:cmMkLst xmlns:pc2="http://schemas.microsoft.com/office/powerpoint/2019/9/main/command">
                <pc:docMk/>
                <pc:sldMk cId="3110330266" sldId="4467"/>
                <pc2:cmMk id="{4010C427-F3FE-42FB-8B79-D80213DE6A94}"/>
              </pc2:cmMkLst>
            </pc226:cmChg>
            <pc226:cmChg xmlns:pc226="http://schemas.microsoft.com/office/powerpoint/2022/06/main/command" chg="mod">
              <pc226:chgData name="Polanco Zanetta, Sebastian" userId="679afde1-f2ca-45a1-83ca-bc48414eb788" providerId="ADAL" clId="{B9C06509-25B1-47D3-980D-B34F6BE8753E}" dt="2025-05-02T01:31:33.460" v="33757" actId="478"/>
              <pc2:cmMkLst xmlns:pc2="http://schemas.microsoft.com/office/powerpoint/2019/9/main/command">
                <pc:docMk/>
                <pc:sldMk cId="3110330266" sldId="4467"/>
                <pc2:cmMk id="{455552AB-0206-4E3D-9493-3BE105F2CF62}"/>
              </pc2:cmMkLst>
            </pc226:cmChg>
          </p:ext>
        </pc:extLst>
      </pc:sldChg>
      <pc:sldChg chg="addSp delSp modSp mod">
        <pc:chgData name="Polanco Zanetta, Sebastian" userId="679afde1-f2ca-45a1-83ca-bc48414eb788" providerId="ADAL" clId="{B9C06509-25B1-47D3-980D-B34F6BE8753E}" dt="2025-05-02T17:54:16.045" v="34671"/>
        <pc:sldMkLst>
          <pc:docMk/>
          <pc:sldMk cId="454047127" sldId="4468"/>
        </pc:sldMkLst>
        <pc:spChg chg="add mod">
          <ac:chgData name="Polanco Zanetta, Sebastian" userId="679afde1-f2ca-45a1-83ca-bc48414eb788" providerId="ADAL" clId="{B9C06509-25B1-47D3-980D-B34F6BE8753E}" dt="2025-05-02T17:54:16.045" v="34671"/>
          <ac:spMkLst>
            <pc:docMk/>
            <pc:sldMk cId="454047127" sldId="4468"/>
            <ac:spMk id="2" creationId="{4CAC3B11-DEBC-4994-666A-D9C415B533D2}"/>
          </ac:spMkLst>
        </pc:spChg>
        <pc:spChg chg="add mod ord">
          <ac:chgData name="Polanco Zanetta, Sebastian" userId="679afde1-f2ca-45a1-83ca-bc48414eb788" providerId="ADAL" clId="{B9C06509-25B1-47D3-980D-B34F6BE8753E}" dt="2025-04-23T18:44:12.998" v="9365"/>
          <ac:spMkLst>
            <pc:docMk/>
            <pc:sldMk cId="454047127" sldId="4468"/>
            <ac:spMk id="4" creationId="{E5B27608-062D-7A6F-90E8-9ADCC6FF6C04}"/>
          </ac:spMkLst>
        </pc:spChg>
        <pc:spChg chg="add mod ord">
          <ac:chgData name="Polanco Zanetta, Sebastian" userId="679afde1-f2ca-45a1-83ca-bc48414eb788" providerId="ADAL" clId="{B9C06509-25B1-47D3-980D-B34F6BE8753E}" dt="2025-04-23T18:44:12.999" v="9369"/>
          <ac:spMkLst>
            <pc:docMk/>
            <pc:sldMk cId="454047127" sldId="4468"/>
            <ac:spMk id="6" creationId="{837462E6-A808-CA11-AD63-46624AB57400}"/>
          </ac:spMkLst>
        </pc:spChg>
        <pc:spChg chg="add mod ord">
          <ac:chgData name="Polanco Zanetta, Sebastian" userId="679afde1-f2ca-45a1-83ca-bc48414eb788" providerId="ADAL" clId="{B9C06509-25B1-47D3-980D-B34F6BE8753E}" dt="2025-04-30T04:41:23.206" v="32880" actId="14100"/>
          <ac:spMkLst>
            <pc:docMk/>
            <pc:sldMk cId="454047127" sldId="4468"/>
            <ac:spMk id="10" creationId="{1F2D5756-F662-82D0-450F-2CD3EFE09C88}"/>
          </ac:spMkLst>
        </pc:spChg>
        <pc:spChg chg="add mod ord">
          <ac:chgData name="Polanco Zanetta, Sebastian" userId="679afde1-f2ca-45a1-83ca-bc48414eb788" providerId="ADAL" clId="{B9C06509-25B1-47D3-980D-B34F6BE8753E}" dt="2025-04-30T04:42:03.290" v="32973" actId="14100"/>
          <ac:spMkLst>
            <pc:docMk/>
            <pc:sldMk cId="454047127" sldId="4468"/>
            <ac:spMk id="11" creationId="{E92AE28A-777F-896A-BCAC-FCED8386439F}"/>
          </ac:spMkLst>
        </pc:spChg>
        <pc:spChg chg="add mod">
          <ac:chgData name="Polanco Zanetta, Sebastian" userId="679afde1-f2ca-45a1-83ca-bc48414eb788" providerId="ADAL" clId="{B9C06509-25B1-47D3-980D-B34F6BE8753E}" dt="2025-05-02T01:35:08.103" v="33813"/>
          <ac:spMkLst>
            <pc:docMk/>
            <pc:sldMk cId="454047127" sldId="4468"/>
            <ac:spMk id="14" creationId="{DB67B596-3787-F3AE-CFB6-FB33342BDBEC}"/>
          </ac:spMkLst>
        </pc:spChg>
        <pc:graphicFrameChg chg="add mod ord modGraphic">
          <ac:chgData name="Polanco Zanetta, Sebastian" userId="679afde1-f2ca-45a1-83ca-bc48414eb788" providerId="ADAL" clId="{B9C06509-25B1-47D3-980D-B34F6BE8753E}" dt="2025-04-30T04:37:23.128" v="32682" actId="108"/>
          <ac:graphicFrameMkLst>
            <pc:docMk/>
            <pc:sldMk cId="454047127" sldId="4468"/>
            <ac:graphicFrameMk id="5" creationId="{F581023C-8B4E-FB7D-341A-8A77AB816E7C}"/>
          </ac:graphicFrameMkLst>
        </pc:graphicFrameChg>
        <pc:graphicFrameChg chg="mod">
          <ac:chgData name="Polanco Zanetta, Sebastian" userId="679afde1-f2ca-45a1-83ca-bc48414eb788" providerId="ADAL" clId="{B9C06509-25B1-47D3-980D-B34F6BE8753E}" dt="2025-04-23T18:44:13.001" v="9377"/>
          <ac:graphicFrameMkLst>
            <pc:docMk/>
            <pc:sldMk cId="454047127" sldId="4468"/>
            <ac:graphicFrameMk id="7" creationId="{D6671726-3BCD-F3FA-F071-A4A61FC92580}"/>
          </ac:graphicFrameMkLst>
        </pc:graphicFrameChg>
        <pc:graphicFrameChg chg="add mod ord modGraphic">
          <ac:chgData name="Polanco Zanetta, Sebastian" userId="679afde1-f2ca-45a1-83ca-bc48414eb788" providerId="ADAL" clId="{B9C06509-25B1-47D3-980D-B34F6BE8753E}" dt="2025-04-30T04:41:18.956" v="32879" actId="1076"/>
          <ac:graphicFrameMkLst>
            <pc:docMk/>
            <pc:sldMk cId="454047127" sldId="4468"/>
            <ac:graphicFrameMk id="8" creationId="{764C3EB9-5203-F28D-F375-5E7CE67E08EB}"/>
          </ac:graphicFrameMkLst>
        </pc:graphicFrameChg>
        <pc:picChg chg="add mod ord">
          <ac:chgData name="Polanco Zanetta, Sebastian" userId="679afde1-f2ca-45a1-83ca-bc48414eb788" providerId="ADAL" clId="{B9C06509-25B1-47D3-980D-B34F6BE8753E}" dt="2025-04-23T18:46:17.810" v="9404" actId="1076"/>
          <ac:picMkLst>
            <pc:docMk/>
            <pc:sldMk cId="454047127" sldId="4468"/>
            <ac:picMk id="12" creationId="{930F79F7-B1E7-4E0E-ABB4-C6B1F7035DA5}"/>
          </ac:picMkLst>
        </pc:picChg>
      </pc:sldChg>
      <pc:sldChg chg="del">
        <pc:chgData name="Polanco Zanetta, Sebastian" userId="679afde1-f2ca-45a1-83ca-bc48414eb788" providerId="ADAL" clId="{B9C06509-25B1-47D3-980D-B34F6BE8753E}" dt="2025-04-23T18:43:36.160" v="9332" actId="47"/>
        <pc:sldMkLst>
          <pc:docMk/>
          <pc:sldMk cId="1729536167" sldId="4469"/>
        </pc:sldMkLst>
      </pc:sldChg>
      <pc:sldChg chg="addSp delSp modSp del mod ord">
        <pc:chgData name="Polanco Zanetta, Sebastian" userId="679afde1-f2ca-45a1-83ca-bc48414eb788" providerId="ADAL" clId="{B9C06509-25B1-47D3-980D-B34F6BE8753E}" dt="2025-04-23T15:29:08.866" v="7954" actId="47"/>
        <pc:sldMkLst>
          <pc:docMk/>
          <pc:sldMk cId="3043798616" sldId="4473"/>
        </pc:sldMkLst>
      </pc:sldChg>
      <pc:sldChg chg="modSp mod">
        <pc:chgData name="Polanco Zanetta, Sebastian" userId="679afde1-f2ca-45a1-83ca-bc48414eb788" providerId="ADAL" clId="{B9C06509-25B1-47D3-980D-B34F6BE8753E}" dt="2025-04-23T18:53:29.810" v="10239" actId="1036"/>
        <pc:sldMkLst>
          <pc:docMk/>
          <pc:sldMk cId="888517033" sldId="4474"/>
        </pc:sldMkLst>
        <pc:spChg chg="mod">
          <ac:chgData name="Polanco Zanetta, Sebastian" userId="679afde1-f2ca-45a1-83ca-bc48414eb788" providerId="ADAL" clId="{B9C06509-25B1-47D3-980D-B34F6BE8753E}" dt="2025-04-23T18:53:29.810" v="10239" actId="1036"/>
          <ac:spMkLst>
            <pc:docMk/>
            <pc:sldMk cId="888517033" sldId="4474"/>
            <ac:spMk id="2" creationId="{6D56D71D-671E-6663-C561-E642B90F069F}"/>
          </ac:spMkLst>
        </pc:spChg>
        <pc:spChg chg="mod">
          <ac:chgData name="Polanco Zanetta, Sebastian" userId="679afde1-f2ca-45a1-83ca-bc48414eb788" providerId="ADAL" clId="{B9C06509-25B1-47D3-980D-B34F6BE8753E}" dt="2025-04-23T18:53:29.810" v="10239" actId="1036"/>
          <ac:spMkLst>
            <pc:docMk/>
            <pc:sldMk cId="888517033" sldId="4474"/>
            <ac:spMk id="5" creationId="{1D4B9704-4A69-50CC-5A71-3D982D09B3CB}"/>
          </ac:spMkLst>
        </pc:spChg>
      </pc:sldChg>
      <pc:sldChg chg="addSp delSp modSp mod">
        <pc:chgData name="Polanco Zanetta, Sebastian" userId="679afde1-f2ca-45a1-83ca-bc48414eb788" providerId="ADAL" clId="{B9C06509-25B1-47D3-980D-B34F6BE8753E}" dt="2025-05-02T17:54:21.415" v="34674"/>
        <pc:sldMkLst>
          <pc:docMk/>
          <pc:sldMk cId="1510593437" sldId="4475"/>
        </pc:sldMkLst>
        <pc:spChg chg="add mod">
          <ac:chgData name="Polanco Zanetta, Sebastian" userId="679afde1-f2ca-45a1-83ca-bc48414eb788" providerId="ADAL" clId="{B9C06509-25B1-47D3-980D-B34F6BE8753E}" dt="2025-05-02T01:33:08.290" v="33786"/>
          <ac:spMkLst>
            <pc:docMk/>
            <pc:sldMk cId="1510593437" sldId="4475"/>
            <ac:spMk id="2" creationId="{76291784-9BBB-13F1-13E5-F39696589623}"/>
          </ac:spMkLst>
        </pc:spChg>
        <pc:spChg chg="add mod">
          <ac:chgData name="Polanco Zanetta, Sebastian" userId="679afde1-f2ca-45a1-83ca-bc48414eb788" providerId="ADAL" clId="{B9C06509-25B1-47D3-980D-B34F6BE8753E}" dt="2025-05-02T17:54:21.415" v="34674"/>
          <ac:spMkLst>
            <pc:docMk/>
            <pc:sldMk cId="1510593437" sldId="4475"/>
            <ac:spMk id="4" creationId="{8A50C0C0-40B4-C191-27CF-1D860A553DFC}"/>
          </ac:spMkLst>
        </pc:spChg>
        <pc:spChg chg="mod">
          <ac:chgData name="Polanco Zanetta, Sebastian" userId="679afde1-f2ca-45a1-83ca-bc48414eb788" providerId="ADAL" clId="{B9C06509-25B1-47D3-980D-B34F6BE8753E}" dt="2025-04-30T04:46:56.659" v="33421" actId="1036"/>
          <ac:spMkLst>
            <pc:docMk/>
            <pc:sldMk cId="1510593437" sldId="4475"/>
            <ac:spMk id="20" creationId="{04A01AA6-13EE-F435-C322-DB4EE87C3E97}"/>
          </ac:spMkLst>
        </pc:spChg>
        <pc:spChg chg="mod">
          <ac:chgData name="Polanco Zanetta, Sebastian" userId="679afde1-f2ca-45a1-83ca-bc48414eb788" providerId="ADAL" clId="{B9C06509-25B1-47D3-980D-B34F6BE8753E}" dt="2025-04-30T04:47:50.810" v="33431" actId="12788"/>
          <ac:spMkLst>
            <pc:docMk/>
            <pc:sldMk cId="1510593437" sldId="4475"/>
            <ac:spMk id="22" creationId="{75F4C804-F2B5-1C08-EE59-E207740C573A}"/>
          </ac:spMkLst>
        </pc:spChg>
        <pc:spChg chg="mod">
          <ac:chgData name="Polanco Zanetta, Sebastian" userId="679afde1-f2ca-45a1-83ca-bc48414eb788" providerId="ADAL" clId="{B9C06509-25B1-47D3-980D-B34F6BE8753E}" dt="2025-04-30T04:46:56.659" v="33421" actId="1036"/>
          <ac:spMkLst>
            <pc:docMk/>
            <pc:sldMk cId="1510593437" sldId="4475"/>
            <ac:spMk id="29" creationId="{1787D5C0-2941-5863-53D1-EFB9B72B089C}"/>
          </ac:spMkLst>
        </pc:spChg>
        <pc:spChg chg="mod">
          <ac:chgData name="Polanco Zanetta, Sebastian" userId="679afde1-f2ca-45a1-83ca-bc48414eb788" providerId="ADAL" clId="{B9C06509-25B1-47D3-980D-B34F6BE8753E}" dt="2025-04-30T04:47:50.810" v="33431" actId="12788"/>
          <ac:spMkLst>
            <pc:docMk/>
            <pc:sldMk cId="1510593437" sldId="4475"/>
            <ac:spMk id="30" creationId="{39929EB1-FDF3-AFF4-B958-16671ABA7B3E}"/>
          </ac:spMkLst>
        </pc:spChg>
        <pc:picChg chg="mod">
          <ac:chgData name="Polanco Zanetta, Sebastian" userId="679afde1-f2ca-45a1-83ca-bc48414eb788" providerId="ADAL" clId="{B9C06509-25B1-47D3-980D-B34F6BE8753E}" dt="2025-04-30T04:46:56.659" v="33421" actId="1036"/>
          <ac:picMkLst>
            <pc:docMk/>
            <pc:sldMk cId="1510593437" sldId="4475"/>
            <ac:picMk id="38" creationId="{31EBC9F5-B501-2B9A-8607-DB78F65E5DBA}"/>
          </ac:picMkLst>
        </pc:picChg>
        <pc:picChg chg="mod">
          <ac:chgData name="Polanco Zanetta, Sebastian" userId="679afde1-f2ca-45a1-83ca-bc48414eb788" providerId="ADAL" clId="{B9C06509-25B1-47D3-980D-B34F6BE8753E}" dt="2025-04-30T04:46:56.659" v="33421" actId="1036"/>
          <ac:picMkLst>
            <pc:docMk/>
            <pc:sldMk cId="1510593437" sldId="4475"/>
            <ac:picMk id="40" creationId="{8C5C2C6D-0B91-CC39-06D7-AD40C1E19218}"/>
          </ac:picMkLst>
        </pc:picChg>
      </pc:sldChg>
      <pc:sldChg chg="addSp delSp modSp del mod">
        <pc:chgData name="Polanco Zanetta, Sebastian" userId="679afde1-f2ca-45a1-83ca-bc48414eb788" providerId="ADAL" clId="{B9C06509-25B1-47D3-980D-B34F6BE8753E}" dt="2025-04-30T04:48:41.923" v="33482" actId="47"/>
        <pc:sldMkLst>
          <pc:docMk/>
          <pc:sldMk cId="2252513257" sldId="4476"/>
        </pc:sldMkLst>
      </pc:sldChg>
      <pc:sldChg chg="del">
        <pc:chgData name="Polanco Zanetta, Sebastian" userId="679afde1-f2ca-45a1-83ca-bc48414eb788" providerId="ADAL" clId="{B9C06509-25B1-47D3-980D-B34F6BE8753E}" dt="2025-04-23T18:57:44.653" v="10293" actId="47"/>
        <pc:sldMkLst>
          <pc:docMk/>
          <pc:sldMk cId="3963385465" sldId="4477"/>
        </pc:sldMkLst>
      </pc:sldChg>
      <pc:sldChg chg="addSp delSp modSp mod">
        <pc:chgData name="Polanco Zanetta, Sebastian" userId="679afde1-f2ca-45a1-83ca-bc48414eb788" providerId="ADAL" clId="{B9C06509-25B1-47D3-980D-B34F6BE8753E}" dt="2025-05-02T17:54:29.254" v="34677" actId="478"/>
        <pc:sldMkLst>
          <pc:docMk/>
          <pc:sldMk cId="2461718685" sldId="4478"/>
        </pc:sldMkLst>
      </pc:sldChg>
      <pc:sldChg chg="modSp mod">
        <pc:chgData name="Polanco Zanetta, Sebastian" userId="679afde1-f2ca-45a1-83ca-bc48414eb788" providerId="ADAL" clId="{B9C06509-25B1-47D3-980D-B34F6BE8753E}" dt="2025-04-22T15:30:22.507" v="7" actId="20577"/>
        <pc:sldMkLst>
          <pc:docMk/>
          <pc:sldMk cId="2915255060" sldId="4481"/>
        </pc:sldMkLst>
        <pc:spChg chg="mod">
          <ac:chgData name="Polanco Zanetta, Sebastian" userId="679afde1-f2ca-45a1-83ca-bc48414eb788" providerId="ADAL" clId="{B9C06509-25B1-47D3-980D-B34F6BE8753E}" dt="2025-04-22T15:30:22.507" v="7" actId="20577"/>
          <ac:spMkLst>
            <pc:docMk/>
            <pc:sldMk cId="2915255060" sldId="4481"/>
            <ac:spMk id="3" creationId="{D7E63524-DB77-6E00-2435-8EF3F011249E}"/>
          </ac:spMkLst>
        </pc:spChg>
      </pc:sldChg>
      <pc:sldChg chg="modSp mod">
        <pc:chgData name="Polanco Zanetta, Sebastian" userId="679afde1-f2ca-45a1-83ca-bc48414eb788" providerId="ADAL" clId="{B9C06509-25B1-47D3-980D-B34F6BE8753E}" dt="2025-04-22T15:41:51.262" v="225" actId="20577"/>
        <pc:sldMkLst>
          <pc:docMk/>
          <pc:sldMk cId="2179445627" sldId="4482"/>
        </pc:sldMkLst>
        <pc:spChg chg="mod">
          <ac:chgData name="Polanco Zanetta, Sebastian" userId="679afde1-f2ca-45a1-83ca-bc48414eb788" providerId="ADAL" clId="{B9C06509-25B1-47D3-980D-B34F6BE8753E}" dt="2025-04-22T15:41:51.262" v="225" actId="20577"/>
          <ac:spMkLst>
            <pc:docMk/>
            <pc:sldMk cId="2179445627" sldId="4482"/>
            <ac:spMk id="6" creationId="{37E8A552-1792-4F57-06B2-4C789EA07468}"/>
          </ac:spMkLst>
        </pc:spChg>
      </pc:sldChg>
      <pc:sldChg chg="delSp modSp mod">
        <pc:chgData name="Polanco Zanetta, Sebastian" userId="679afde1-f2ca-45a1-83ca-bc48414eb788" providerId="ADAL" clId="{B9C06509-25B1-47D3-980D-B34F6BE8753E}" dt="2025-04-23T18:55:42.510" v="10290" actId="478"/>
        <pc:sldMkLst>
          <pc:docMk/>
          <pc:sldMk cId="2761590893" sldId="4485"/>
        </pc:sldMkLst>
      </pc:sldChg>
      <pc:sldChg chg="addSp delSp modSp add mod ord">
        <pc:chgData name="Polanco Zanetta, Sebastian" userId="679afde1-f2ca-45a1-83ca-bc48414eb788" providerId="ADAL" clId="{B9C06509-25B1-47D3-980D-B34F6BE8753E}" dt="2025-05-02T17:53:41.433" v="34655"/>
        <pc:sldMkLst>
          <pc:docMk/>
          <pc:sldMk cId="1384679963" sldId="4486"/>
        </pc:sldMkLst>
        <pc:spChg chg="add mod">
          <ac:chgData name="Polanco Zanetta, Sebastian" userId="679afde1-f2ca-45a1-83ca-bc48414eb788" providerId="ADAL" clId="{B9C06509-25B1-47D3-980D-B34F6BE8753E}" dt="2025-05-02T01:33:37.254" v="33792" actId="108"/>
          <ac:spMkLst>
            <pc:docMk/>
            <pc:sldMk cId="1384679963" sldId="4486"/>
            <ac:spMk id="3" creationId="{901CC820-D2CA-AFB3-0AFE-0471FBCAF105}"/>
          </ac:spMkLst>
        </pc:spChg>
        <pc:spChg chg="mod">
          <ac:chgData name="Polanco Zanetta, Sebastian" userId="679afde1-f2ca-45a1-83ca-bc48414eb788" providerId="ADAL" clId="{B9C06509-25B1-47D3-980D-B34F6BE8753E}" dt="2025-05-02T01:35:49.458" v="33818" actId="123"/>
          <ac:spMkLst>
            <pc:docMk/>
            <pc:sldMk cId="1384679963" sldId="4486"/>
            <ac:spMk id="6" creationId="{9E57E696-36C7-44F4-9B88-24C964FB782F}"/>
          </ac:spMkLst>
        </pc:spChg>
        <pc:spChg chg="mod">
          <ac:chgData name="Polanco Zanetta, Sebastian" userId="679afde1-f2ca-45a1-83ca-bc48414eb788" providerId="ADAL" clId="{B9C06509-25B1-47D3-980D-B34F6BE8753E}" dt="2025-05-02T01:35:34.724" v="33815" actId="123"/>
          <ac:spMkLst>
            <pc:docMk/>
            <pc:sldMk cId="1384679963" sldId="4486"/>
            <ac:spMk id="9" creationId="{0C0C53A1-E8A0-479E-0EAF-9D191B19BF26}"/>
          </ac:spMkLst>
        </pc:spChg>
        <pc:spChg chg="mod">
          <ac:chgData name="Polanco Zanetta, Sebastian" userId="679afde1-f2ca-45a1-83ca-bc48414eb788" providerId="ADAL" clId="{B9C06509-25B1-47D3-980D-B34F6BE8753E}" dt="2025-04-28T13:57:13.931" v="10473" actId="20577"/>
          <ac:spMkLst>
            <pc:docMk/>
            <pc:sldMk cId="1384679963" sldId="4486"/>
            <ac:spMk id="10" creationId="{590F2CCA-678F-395D-DD2C-61A3E1D091CF}"/>
          </ac:spMkLst>
        </pc:spChg>
        <pc:spChg chg="mod">
          <ac:chgData name="Polanco Zanetta, Sebastian" userId="679afde1-f2ca-45a1-83ca-bc48414eb788" providerId="ADAL" clId="{B9C06509-25B1-47D3-980D-B34F6BE8753E}" dt="2025-04-28T13:56:07.905" v="10365" actId="20577"/>
          <ac:spMkLst>
            <pc:docMk/>
            <pc:sldMk cId="1384679963" sldId="4486"/>
            <ac:spMk id="11" creationId="{2E6A40FB-38C0-AC49-1A00-1C0A2C62E11B}"/>
          </ac:spMkLst>
        </pc:spChg>
        <pc:spChg chg="add mod">
          <ac:chgData name="Polanco Zanetta, Sebastian" userId="679afde1-f2ca-45a1-83ca-bc48414eb788" providerId="ADAL" clId="{B9C06509-25B1-47D3-980D-B34F6BE8753E}" dt="2025-05-02T17:53:41.433" v="34655"/>
          <ac:spMkLst>
            <pc:docMk/>
            <pc:sldMk cId="1384679963" sldId="4486"/>
            <ac:spMk id="13" creationId="{7CEB308A-9A6F-76C9-8312-9AC0D9E2CF86}"/>
          </ac:spMkLst>
        </pc:spChg>
        <pc:spChg chg="mod">
          <ac:chgData name="Polanco Zanetta, Sebastian" userId="679afde1-f2ca-45a1-83ca-bc48414eb788" providerId="ADAL" clId="{B9C06509-25B1-47D3-980D-B34F6BE8753E}" dt="2025-05-02T01:35:38.356" v="33816" actId="123"/>
          <ac:spMkLst>
            <pc:docMk/>
            <pc:sldMk cId="1384679963" sldId="4486"/>
            <ac:spMk id="19" creationId="{9A5914E0-4C61-ECB0-904E-74F66E01E011}"/>
          </ac:spMkLst>
        </pc:spChg>
        <pc:spChg chg="mod">
          <ac:chgData name="Polanco Zanetta, Sebastian" userId="679afde1-f2ca-45a1-83ca-bc48414eb788" providerId="ADAL" clId="{B9C06509-25B1-47D3-980D-B34F6BE8753E}" dt="2025-04-28T13:56:19.558" v="10368" actId="20577"/>
          <ac:spMkLst>
            <pc:docMk/>
            <pc:sldMk cId="1384679963" sldId="4486"/>
            <ac:spMk id="20" creationId="{3B3F2425-BC73-3800-40F0-891204DDA283}"/>
          </ac:spMkLst>
        </pc:spChg>
        <pc:spChg chg="mod">
          <ac:chgData name="Polanco Zanetta, Sebastian" userId="679afde1-f2ca-45a1-83ca-bc48414eb788" providerId="ADAL" clId="{B9C06509-25B1-47D3-980D-B34F6BE8753E}" dt="2025-05-02T01:35:43.597" v="33817" actId="123"/>
          <ac:spMkLst>
            <pc:docMk/>
            <pc:sldMk cId="1384679963" sldId="4486"/>
            <ac:spMk id="25" creationId="{06B242A2-5689-D07D-E831-AE7358C06322}"/>
          </ac:spMkLst>
        </pc:spChg>
        <pc:spChg chg="mod">
          <ac:chgData name="Polanco Zanetta, Sebastian" userId="679afde1-f2ca-45a1-83ca-bc48414eb788" providerId="ADAL" clId="{B9C06509-25B1-47D3-980D-B34F6BE8753E}" dt="2025-04-28T13:56:29.516" v="10372" actId="20577"/>
          <ac:spMkLst>
            <pc:docMk/>
            <pc:sldMk cId="1384679963" sldId="4486"/>
            <ac:spMk id="26" creationId="{7B9504E4-3BE4-A7CD-B077-57DADB1A60A4}"/>
          </ac:spMkLst>
        </pc:spChg>
        <pc:grpChg chg="add mod">
          <ac:chgData name="Polanco Zanetta, Sebastian" userId="679afde1-f2ca-45a1-83ca-bc48414eb788" providerId="ADAL" clId="{B9C06509-25B1-47D3-980D-B34F6BE8753E}" dt="2025-04-28T14:10:45.993" v="11185" actId="1036"/>
          <ac:grpSpMkLst>
            <pc:docMk/>
            <pc:sldMk cId="1384679963" sldId="4486"/>
            <ac:grpSpMk id="4" creationId="{1C167C76-A048-94D4-D9B3-4EBEC81FDBFC}"/>
          </ac:grpSpMkLst>
        </pc:grpChg>
        <pc:grpChg chg="add mod">
          <ac:chgData name="Polanco Zanetta, Sebastian" userId="679afde1-f2ca-45a1-83ca-bc48414eb788" providerId="ADAL" clId="{B9C06509-25B1-47D3-980D-B34F6BE8753E}" dt="2025-04-28T14:10:26.514" v="11175" actId="1035"/>
          <ac:grpSpMkLst>
            <pc:docMk/>
            <pc:sldMk cId="1384679963" sldId="4486"/>
            <ac:grpSpMk id="8" creationId="{F70ED22F-B7CE-F3FE-FF9D-BCA28A210FE9}"/>
          </ac:grpSpMkLst>
        </pc:grpChg>
        <pc:grpChg chg="add mod">
          <ac:chgData name="Polanco Zanetta, Sebastian" userId="679afde1-f2ca-45a1-83ca-bc48414eb788" providerId="ADAL" clId="{B9C06509-25B1-47D3-980D-B34F6BE8753E}" dt="2025-04-28T14:10:26.514" v="11175" actId="1035"/>
          <ac:grpSpMkLst>
            <pc:docMk/>
            <pc:sldMk cId="1384679963" sldId="4486"/>
            <ac:grpSpMk id="18" creationId="{530C38BE-8F41-1E06-1332-0D53392BF972}"/>
          </ac:grpSpMkLst>
        </pc:grpChg>
        <pc:grpChg chg="add mod">
          <ac:chgData name="Polanco Zanetta, Sebastian" userId="679afde1-f2ca-45a1-83ca-bc48414eb788" providerId="ADAL" clId="{B9C06509-25B1-47D3-980D-B34F6BE8753E}" dt="2025-04-28T14:10:45.993" v="11185" actId="1036"/>
          <ac:grpSpMkLst>
            <pc:docMk/>
            <pc:sldMk cId="1384679963" sldId="4486"/>
            <ac:grpSpMk id="24" creationId="{1BAD2521-D74F-129B-FE5A-C42A55975AA2}"/>
          </ac:grpSpMkLst>
        </pc:grpChg>
      </pc:sldChg>
      <pc:sldChg chg="addSp delSp modSp add mod">
        <pc:chgData name="Polanco Zanetta, Sebastian" userId="679afde1-f2ca-45a1-83ca-bc48414eb788" providerId="ADAL" clId="{B9C06509-25B1-47D3-980D-B34F6BE8753E}" dt="2025-05-02T17:59:09.391" v="34752" actId="14100"/>
        <pc:sldMkLst>
          <pc:docMk/>
          <pc:sldMk cId="2188482161" sldId="4487"/>
        </pc:sldMkLst>
        <pc:spChg chg="add mod">
          <ac:chgData name="Polanco Zanetta, Sebastian" userId="679afde1-f2ca-45a1-83ca-bc48414eb788" providerId="ADAL" clId="{B9C06509-25B1-47D3-980D-B34F6BE8753E}" dt="2025-05-02T01:34:23.122" v="33802" actId="108"/>
          <ac:spMkLst>
            <pc:docMk/>
            <pc:sldMk cId="2188482161" sldId="4487"/>
            <ac:spMk id="2" creationId="{BEBA91AF-37B8-66B9-ADA9-AE0087EA08CE}"/>
          </ac:spMkLst>
        </pc:spChg>
        <pc:spChg chg="mod">
          <ac:chgData name="Polanco Zanetta, Sebastian" userId="679afde1-f2ca-45a1-83ca-bc48414eb788" providerId="ADAL" clId="{B9C06509-25B1-47D3-980D-B34F6BE8753E}" dt="2025-04-29T20:08:28.047" v="18632" actId="20577"/>
          <ac:spMkLst>
            <pc:docMk/>
            <pc:sldMk cId="2188482161" sldId="4487"/>
            <ac:spMk id="4" creationId="{8A386AE8-DF38-3055-2444-0BE446DF5B31}"/>
          </ac:spMkLst>
        </pc:spChg>
        <pc:spChg chg="add mod">
          <ac:chgData name="Polanco Zanetta, Sebastian" userId="679afde1-f2ca-45a1-83ca-bc48414eb788" providerId="ADAL" clId="{B9C06509-25B1-47D3-980D-B34F6BE8753E}" dt="2025-05-02T17:59:09.391" v="34752" actId="14100"/>
          <ac:spMkLst>
            <pc:docMk/>
            <pc:sldMk cId="2188482161" sldId="4487"/>
            <ac:spMk id="5" creationId="{6AC8242F-027F-E73F-F474-662FF7A33762}"/>
          </ac:spMkLst>
        </pc:spChg>
        <pc:spChg chg="mod">
          <ac:chgData name="Polanco Zanetta, Sebastian" userId="679afde1-f2ca-45a1-83ca-bc48414eb788" providerId="ADAL" clId="{B9C06509-25B1-47D3-980D-B34F6BE8753E}" dt="2025-05-02T17:59:05.964" v="34751" actId="14100"/>
          <ac:spMkLst>
            <pc:docMk/>
            <pc:sldMk cId="2188482161" sldId="4487"/>
            <ac:spMk id="8" creationId="{CD123C1F-C2B0-0699-057B-B0603020E71A}"/>
          </ac:spMkLst>
        </pc:spChg>
        <pc:spChg chg="mod">
          <ac:chgData name="Polanco Zanetta, Sebastian" userId="679afde1-f2ca-45a1-83ca-bc48414eb788" providerId="ADAL" clId="{B9C06509-25B1-47D3-980D-B34F6BE8753E}" dt="2025-05-02T17:58:34.187" v="34747" actId="14100"/>
          <ac:spMkLst>
            <pc:docMk/>
            <pc:sldMk cId="2188482161" sldId="4487"/>
            <ac:spMk id="32" creationId="{54E39059-20BB-2585-BDE2-394590C6A98C}"/>
          </ac:spMkLst>
        </pc:spChg>
        <pc:spChg chg="mod">
          <ac:chgData name="Polanco Zanetta, Sebastian" userId="679afde1-f2ca-45a1-83ca-bc48414eb788" providerId="ADAL" clId="{B9C06509-25B1-47D3-980D-B34F6BE8753E}" dt="2025-04-28T15:22:15.689" v="11517" actId="108"/>
          <ac:spMkLst>
            <pc:docMk/>
            <pc:sldMk cId="2188482161" sldId="4487"/>
            <ac:spMk id="33" creationId="{01E42E91-0E28-8F33-A64E-5A02681817C6}"/>
          </ac:spMkLst>
        </pc:spChg>
        <pc:spChg chg="mod">
          <ac:chgData name="Polanco Zanetta, Sebastian" userId="679afde1-f2ca-45a1-83ca-bc48414eb788" providerId="ADAL" clId="{B9C06509-25B1-47D3-980D-B34F6BE8753E}" dt="2025-05-02T17:58:36.766" v="34748" actId="14100"/>
          <ac:spMkLst>
            <pc:docMk/>
            <pc:sldMk cId="2188482161" sldId="4487"/>
            <ac:spMk id="35" creationId="{D7250173-DCDE-9B8B-E741-0780405BC23A}"/>
          </ac:spMkLst>
        </pc:spChg>
        <pc:spChg chg="mod">
          <ac:chgData name="Polanco Zanetta, Sebastian" userId="679afde1-f2ca-45a1-83ca-bc48414eb788" providerId="ADAL" clId="{B9C06509-25B1-47D3-980D-B34F6BE8753E}" dt="2025-04-28T15:39:01.532" v="12056"/>
          <ac:spMkLst>
            <pc:docMk/>
            <pc:sldMk cId="2188482161" sldId="4487"/>
            <ac:spMk id="36" creationId="{457DCA2F-424A-448D-1F70-0B379A10D472}"/>
          </ac:spMkLst>
        </pc:spChg>
        <pc:grpChg chg="add mod">
          <ac:chgData name="Polanco Zanetta, Sebastian" userId="679afde1-f2ca-45a1-83ca-bc48414eb788" providerId="ADAL" clId="{B9C06509-25B1-47D3-980D-B34F6BE8753E}" dt="2025-04-29T20:10:57.960" v="18665" actId="164"/>
          <ac:grpSpMkLst>
            <pc:docMk/>
            <pc:sldMk cId="2188482161" sldId="4487"/>
            <ac:grpSpMk id="6" creationId="{53533E66-CE95-9ADC-13E8-131A5D5A60BB}"/>
          </ac:grpSpMkLst>
        </pc:grpChg>
        <pc:grpChg chg="add mod">
          <ac:chgData name="Polanco Zanetta, Sebastian" userId="679afde1-f2ca-45a1-83ca-bc48414eb788" providerId="ADAL" clId="{B9C06509-25B1-47D3-980D-B34F6BE8753E}" dt="2025-04-29T20:11:13.322" v="18681" actId="1036"/>
          <ac:grpSpMkLst>
            <pc:docMk/>
            <pc:sldMk cId="2188482161" sldId="4487"/>
            <ac:grpSpMk id="31" creationId="{74A6A774-240B-B27A-A98E-1B369B40BBDF}"/>
          </ac:grpSpMkLst>
        </pc:grpChg>
        <pc:grpChg chg="add mod">
          <ac:chgData name="Polanco Zanetta, Sebastian" userId="679afde1-f2ca-45a1-83ca-bc48414eb788" providerId="ADAL" clId="{B9C06509-25B1-47D3-980D-B34F6BE8753E}" dt="2025-04-29T20:11:16.985" v="18696" actId="1035"/>
          <ac:grpSpMkLst>
            <pc:docMk/>
            <pc:sldMk cId="2188482161" sldId="4487"/>
            <ac:grpSpMk id="34" creationId="{75E4436C-BB4B-00C3-4F14-120C480AC230}"/>
          </ac:grpSpMkLst>
        </pc:grpChg>
        <pc:graphicFrameChg chg="add mod ord modVis">
          <ac:chgData name="Polanco Zanetta, Sebastian" userId="679afde1-f2ca-45a1-83ca-bc48414eb788" providerId="ADAL" clId="{B9C06509-25B1-47D3-980D-B34F6BE8753E}" dt="2025-04-22T15:34:50.677" v="65"/>
          <ac:graphicFrameMkLst>
            <pc:docMk/>
            <pc:sldMk cId="2188482161" sldId="4487"/>
            <ac:graphicFrameMk id="15" creationId="{A7E535EE-53C4-6D4D-5ACE-F43A9C2B570F}"/>
          </ac:graphicFrameMkLst>
        </pc:graphicFrameChg>
        <pc:picChg chg="add mod ord">
          <ac:chgData name="Polanco Zanetta, Sebastian" userId="679afde1-f2ca-45a1-83ca-bc48414eb788" providerId="ADAL" clId="{B9C06509-25B1-47D3-980D-B34F6BE8753E}" dt="2025-04-28T15:17:28.812" v="11385" actId="1076"/>
          <ac:picMkLst>
            <pc:docMk/>
            <pc:sldMk cId="2188482161" sldId="4487"/>
            <ac:picMk id="14" creationId="{4DF10D6B-371B-C475-0C4C-073F7823F100}"/>
          </ac:picMkLst>
        </pc:picChg>
        <pc:picChg chg="add mod">
          <ac:chgData name="Polanco Zanetta, Sebastian" userId="679afde1-f2ca-45a1-83ca-bc48414eb788" providerId="ADAL" clId="{B9C06509-25B1-47D3-980D-B34F6BE8753E}" dt="2025-04-28T15:56:24.649" v="12280"/>
          <ac:picMkLst>
            <pc:docMk/>
            <pc:sldMk cId="2188482161" sldId="4487"/>
            <ac:picMk id="49" creationId="{2CBFA187-1C81-C0C3-9B27-F07EABAA1939}"/>
          </ac:picMkLst>
        </pc:picChg>
      </pc:sldChg>
      <pc:sldChg chg="addSp delSp modSp add mod">
        <pc:chgData name="Polanco Zanetta, Sebastian" userId="679afde1-f2ca-45a1-83ca-bc48414eb788" providerId="ADAL" clId="{B9C06509-25B1-47D3-980D-B34F6BE8753E}" dt="2025-05-02T17:53:53.053" v="34660"/>
        <pc:sldMkLst>
          <pc:docMk/>
          <pc:sldMk cId="2639895532" sldId="4488"/>
        </pc:sldMkLst>
        <pc:spChg chg="add mod">
          <ac:chgData name="Polanco Zanetta, Sebastian" userId="679afde1-f2ca-45a1-83ca-bc48414eb788" providerId="ADAL" clId="{B9C06509-25B1-47D3-980D-B34F6BE8753E}" dt="2025-05-02T17:53:53.053" v="34660"/>
          <ac:spMkLst>
            <pc:docMk/>
            <pc:sldMk cId="2639895532" sldId="4488"/>
            <ac:spMk id="2" creationId="{E9865562-76A2-4FEB-3C42-3B28B0234092}"/>
          </ac:spMkLst>
        </pc:spChg>
        <pc:spChg chg="mod">
          <ac:chgData name="Polanco Zanetta, Sebastian" userId="679afde1-f2ca-45a1-83ca-bc48414eb788" providerId="ADAL" clId="{B9C06509-25B1-47D3-980D-B34F6BE8753E}" dt="2025-05-02T01:36:58.828" v="33831" actId="123"/>
          <ac:spMkLst>
            <pc:docMk/>
            <pc:sldMk cId="2639895532" sldId="4488"/>
            <ac:spMk id="6" creationId="{17B36644-B6C6-BA23-AE33-961CAF73E7D5}"/>
          </ac:spMkLst>
        </pc:spChg>
        <pc:spChg chg="add mod">
          <ac:chgData name="Polanco Zanetta, Sebastian" userId="679afde1-f2ca-45a1-83ca-bc48414eb788" providerId="ADAL" clId="{B9C06509-25B1-47D3-980D-B34F6BE8753E}" dt="2025-05-02T01:31:08.827" v="33747"/>
          <ac:spMkLst>
            <pc:docMk/>
            <pc:sldMk cId="2639895532" sldId="4488"/>
            <ac:spMk id="8" creationId="{124D65BF-DFC6-D0D5-D46C-05A32C117840}"/>
          </ac:spMkLst>
        </pc:spChg>
        <pc:spChg chg="add mod">
          <ac:chgData name="Polanco Zanetta, Sebastian" userId="679afde1-f2ca-45a1-83ca-bc48414eb788" providerId="ADAL" clId="{B9C06509-25B1-47D3-980D-B34F6BE8753E}" dt="2025-04-22T18:46:08.059" v="5715" actId="1076"/>
          <ac:spMkLst>
            <pc:docMk/>
            <pc:sldMk cId="2639895532" sldId="4488"/>
            <ac:spMk id="9" creationId="{1DDBBF25-4B2C-3885-8F5D-3BF2F20BBE4C}"/>
          </ac:spMkLst>
        </pc:spChg>
        <pc:spChg chg="mod">
          <ac:chgData name="Polanco Zanetta, Sebastian" userId="679afde1-f2ca-45a1-83ca-bc48414eb788" providerId="ADAL" clId="{B9C06509-25B1-47D3-980D-B34F6BE8753E}" dt="2025-05-02T01:37:01.140" v="33832" actId="123"/>
          <ac:spMkLst>
            <pc:docMk/>
            <pc:sldMk cId="2639895532" sldId="4488"/>
            <ac:spMk id="10" creationId="{10D21A58-8CA0-6C7A-BDED-EEED0F3FC795}"/>
          </ac:spMkLst>
        </pc:spChg>
        <pc:picChg chg="mod">
          <ac:chgData name="Polanco Zanetta, Sebastian" userId="679afde1-f2ca-45a1-83ca-bc48414eb788" providerId="ADAL" clId="{B9C06509-25B1-47D3-980D-B34F6BE8753E}" dt="2025-04-29T20:26:41.510" v="19175" actId="1076"/>
          <ac:picMkLst>
            <pc:docMk/>
            <pc:sldMk cId="2639895532" sldId="4488"/>
            <ac:picMk id="12" creationId="{2A0F8575-C592-2B8E-FB6F-6FE5DEE23724}"/>
          </ac:picMkLst>
        </pc:picChg>
        <pc:picChg chg="mod">
          <ac:chgData name="Polanco Zanetta, Sebastian" userId="679afde1-f2ca-45a1-83ca-bc48414eb788" providerId="ADAL" clId="{B9C06509-25B1-47D3-980D-B34F6BE8753E}" dt="2025-05-02T01:36:44.620" v="33828" actId="1038"/>
          <ac:picMkLst>
            <pc:docMk/>
            <pc:sldMk cId="2639895532" sldId="4488"/>
            <ac:picMk id="13" creationId="{56835A50-B846-F410-7717-17904E64658C}"/>
          </ac:picMkLst>
        </pc:picChg>
      </pc:sldChg>
      <pc:sldChg chg="addSp delSp modSp add mod">
        <pc:chgData name="Polanco Zanetta, Sebastian" userId="679afde1-f2ca-45a1-83ca-bc48414eb788" providerId="ADAL" clId="{B9C06509-25B1-47D3-980D-B34F6BE8753E}" dt="2025-05-02T17:54:45.710" v="34683" actId="20577"/>
        <pc:sldMkLst>
          <pc:docMk/>
          <pc:sldMk cId="2824732361" sldId="4489"/>
        </pc:sldMkLst>
        <pc:spChg chg="add mod">
          <ac:chgData name="Polanco Zanetta, Sebastian" userId="679afde1-f2ca-45a1-83ca-bc48414eb788" providerId="ADAL" clId="{B9C06509-25B1-47D3-980D-B34F6BE8753E}" dt="2025-04-29T21:03:24.185" v="28935"/>
          <ac:spMkLst>
            <pc:docMk/>
            <pc:sldMk cId="2824732361" sldId="4489"/>
            <ac:spMk id="3" creationId="{0BB46C2C-CA50-1249-4A21-3CD7B7C8793A}"/>
          </ac:spMkLst>
        </pc:spChg>
        <pc:spChg chg="add mod">
          <ac:chgData name="Polanco Zanetta, Sebastian" userId="679afde1-f2ca-45a1-83ca-bc48414eb788" providerId="ADAL" clId="{B9C06509-25B1-47D3-980D-B34F6BE8753E}" dt="2025-04-29T21:03:24.185" v="28936"/>
          <ac:spMkLst>
            <pc:docMk/>
            <pc:sldMk cId="2824732361" sldId="4489"/>
            <ac:spMk id="4" creationId="{A640AB88-AC2D-6FAC-2A5E-9C3026DC20E1}"/>
          </ac:spMkLst>
        </pc:spChg>
        <pc:spChg chg="add mod">
          <ac:chgData name="Polanco Zanetta, Sebastian" userId="679afde1-f2ca-45a1-83ca-bc48414eb788" providerId="ADAL" clId="{B9C06509-25B1-47D3-980D-B34F6BE8753E}" dt="2025-04-29T21:03:24.185" v="28937"/>
          <ac:spMkLst>
            <pc:docMk/>
            <pc:sldMk cId="2824732361" sldId="4489"/>
            <ac:spMk id="5" creationId="{77F706C4-B461-D119-A763-1606AA3D02A9}"/>
          </ac:spMkLst>
        </pc:spChg>
        <pc:spChg chg="add mod ord">
          <ac:chgData name="Polanco Zanetta, Sebastian" userId="679afde1-f2ca-45a1-83ca-bc48414eb788" providerId="ADAL" clId="{B9C06509-25B1-47D3-980D-B34F6BE8753E}" dt="2025-04-29T21:03:24.175" v="28911"/>
          <ac:spMkLst>
            <pc:docMk/>
            <pc:sldMk cId="2824732361" sldId="4489"/>
            <ac:spMk id="6" creationId="{5FB2A1A7-EF40-76DD-D226-9FC601E60355}"/>
          </ac:spMkLst>
        </pc:spChg>
        <pc:spChg chg="add mod">
          <ac:chgData name="Polanco Zanetta, Sebastian" userId="679afde1-f2ca-45a1-83ca-bc48414eb788" providerId="ADAL" clId="{B9C06509-25B1-47D3-980D-B34F6BE8753E}" dt="2025-04-29T21:03:24.185" v="28938"/>
          <ac:spMkLst>
            <pc:docMk/>
            <pc:sldMk cId="2824732361" sldId="4489"/>
            <ac:spMk id="8" creationId="{BB71EA1B-04DA-234C-E595-1091A37A081C}"/>
          </ac:spMkLst>
        </pc:spChg>
        <pc:spChg chg="add mod">
          <ac:chgData name="Polanco Zanetta, Sebastian" userId="679afde1-f2ca-45a1-83ca-bc48414eb788" providerId="ADAL" clId="{B9C06509-25B1-47D3-980D-B34F6BE8753E}" dt="2025-04-29T21:03:24.185" v="28939"/>
          <ac:spMkLst>
            <pc:docMk/>
            <pc:sldMk cId="2824732361" sldId="4489"/>
            <ac:spMk id="9" creationId="{FE723484-3FAD-CC64-D7F0-D226CDF0FE99}"/>
          </ac:spMkLst>
        </pc:spChg>
        <pc:spChg chg="add mod">
          <ac:chgData name="Polanco Zanetta, Sebastian" userId="679afde1-f2ca-45a1-83ca-bc48414eb788" providerId="ADAL" clId="{B9C06509-25B1-47D3-980D-B34F6BE8753E}" dt="2025-05-02T17:54:45.710" v="34683" actId="20577"/>
          <ac:spMkLst>
            <pc:docMk/>
            <pc:sldMk cId="2824732361" sldId="4489"/>
            <ac:spMk id="11" creationId="{49D14489-0C9C-8323-CB1B-03B9ED9BC6A2}"/>
          </ac:spMkLst>
        </pc:spChg>
        <pc:spChg chg="add mod">
          <ac:chgData name="Polanco Zanetta, Sebastian" userId="679afde1-f2ca-45a1-83ca-bc48414eb788" providerId="ADAL" clId="{B9C06509-25B1-47D3-980D-B34F6BE8753E}" dt="2025-05-02T17:53:57.343" v="34662"/>
          <ac:spMkLst>
            <pc:docMk/>
            <pc:sldMk cId="2824732361" sldId="4489"/>
            <ac:spMk id="12" creationId="{0B222A11-6614-424B-A2C1-C7D3F17B8F67}"/>
          </ac:spMkLst>
        </pc:spChg>
        <pc:spChg chg="add mod">
          <ac:chgData name="Polanco Zanetta, Sebastian" userId="679afde1-f2ca-45a1-83ca-bc48414eb788" providerId="ADAL" clId="{B9C06509-25B1-47D3-980D-B34F6BE8753E}" dt="2025-04-29T21:09:18.643" v="29460" actId="1035"/>
          <ac:spMkLst>
            <pc:docMk/>
            <pc:sldMk cId="2824732361" sldId="4489"/>
            <ac:spMk id="18" creationId="{9B6F355D-242A-8609-E037-EA8281B93037}"/>
          </ac:spMkLst>
        </pc:spChg>
        <pc:spChg chg="add mod">
          <ac:chgData name="Polanco Zanetta, Sebastian" userId="679afde1-f2ca-45a1-83ca-bc48414eb788" providerId="ADAL" clId="{B9C06509-25B1-47D3-980D-B34F6BE8753E}" dt="2025-04-29T21:03:24.185" v="28941"/>
          <ac:spMkLst>
            <pc:docMk/>
            <pc:sldMk cId="2824732361" sldId="4489"/>
            <ac:spMk id="20" creationId="{4F22E3BC-C101-DBDE-4DA9-49F573D88290}"/>
          </ac:spMkLst>
        </pc:spChg>
        <pc:spChg chg="add mod">
          <ac:chgData name="Polanco Zanetta, Sebastian" userId="679afde1-f2ca-45a1-83ca-bc48414eb788" providerId="ADAL" clId="{B9C06509-25B1-47D3-980D-B34F6BE8753E}" dt="2025-04-29T21:03:24.185" v="28942"/>
          <ac:spMkLst>
            <pc:docMk/>
            <pc:sldMk cId="2824732361" sldId="4489"/>
            <ac:spMk id="21" creationId="{B29F323B-220F-7D45-7998-06F61B6BB0E7}"/>
          </ac:spMkLst>
        </pc:spChg>
        <pc:spChg chg="add mod">
          <ac:chgData name="Polanco Zanetta, Sebastian" userId="679afde1-f2ca-45a1-83ca-bc48414eb788" providerId="ADAL" clId="{B9C06509-25B1-47D3-980D-B34F6BE8753E}" dt="2025-04-29T21:03:24.185" v="28943"/>
          <ac:spMkLst>
            <pc:docMk/>
            <pc:sldMk cId="2824732361" sldId="4489"/>
            <ac:spMk id="22" creationId="{54F7061C-85B2-DE1D-4BB6-8A9341AC8A77}"/>
          </ac:spMkLst>
        </pc:spChg>
        <pc:spChg chg="add mod">
          <ac:chgData name="Polanco Zanetta, Sebastian" userId="679afde1-f2ca-45a1-83ca-bc48414eb788" providerId="ADAL" clId="{B9C06509-25B1-47D3-980D-B34F6BE8753E}" dt="2025-04-29T21:03:24.185" v="28944"/>
          <ac:spMkLst>
            <pc:docMk/>
            <pc:sldMk cId="2824732361" sldId="4489"/>
            <ac:spMk id="23" creationId="{A187CE49-324E-E591-FDFF-5015C3EADC9F}"/>
          </ac:spMkLst>
        </pc:spChg>
        <pc:spChg chg="add mod">
          <ac:chgData name="Polanco Zanetta, Sebastian" userId="679afde1-f2ca-45a1-83ca-bc48414eb788" providerId="ADAL" clId="{B9C06509-25B1-47D3-980D-B34F6BE8753E}" dt="2025-04-29T21:03:24.185" v="28945"/>
          <ac:spMkLst>
            <pc:docMk/>
            <pc:sldMk cId="2824732361" sldId="4489"/>
            <ac:spMk id="24" creationId="{B3D90FA1-9F5C-D70F-F10B-B6C1C8A6A3A3}"/>
          </ac:spMkLst>
        </pc:spChg>
        <pc:spChg chg="add mod">
          <ac:chgData name="Polanco Zanetta, Sebastian" userId="679afde1-f2ca-45a1-83ca-bc48414eb788" providerId="ADAL" clId="{B9C06509-25B1-47D3-980D-B34F6BE8753E}" dt="2025-04-29T21:03:24.185" v="28948"/>
          <ac:spMkLst>
            <pc:docMk/>
            <pc:sldMk cId="2824732361" sldId="4489"/>
            <ac:spMk id="29" creationId="{85EF8586-B544-F8BF-0C22-53E18F49A5F5}"/>
          </ac:spMkLst>
        </pc:spChg>
        <pc:spChg chg="mod">
          <ac:chgData name="Polanco Zanetta, Sebastian" userId="679afde1-f2ca-45a1-83ca-bc48414eb788" providerId="ADAL" clId="{B9C06509-25B1-47D3-980D-B34F6BE8753E}" dt="2025-04-29T21:03:24.183" v="28912"/>
          <ac:spMkLst>
            <pc:docMk/>
            <pc:sldMk cId="2824732361" sldId="4489"/>
            <ac:spMk id="50" creationId="{3A564A7C-0404-AF6B-12BC-736EC97B3804}"/>
          </ac:spMkLst>
        </pc:spChg>
        <pc:spChg chg="add del mod ord">
          <ac:chgData name="Polanco Zanetta, Sebastian" userId="679afde1-f2ca-45a1-83ca-bc48414eb788" providerId="ADAL" clId="{B9C06509-25B1-47D3-980D-B34F6BE8753E}" dt="2025-04-30T04:29:30.440" v="32333" actId="20577"/>
          <ac:spMkLst>
            <pc:docMk/>
            <pc:sldMk cId="2824732361" sldId="4489"/>
            <ac:spMk id="73" creationId="{CDC364A9-9EEE-9C22-B2E7-BF5097EF0ADB}"/>
          </ac:spMkLst>
        </pc:spChg>
        <pc:graphicFrameChg chg="mod">
          <ac:chgData name="Polanco Zanetta, Sebastian" userId="679afde1-f2ca-45a1-83ca-bc48414eb788" providerId="ADAL" clId="{B9C06509-25B1-47D3-980D-B34F6BE8753E}" dt="2025-04-29T21:03:24.185" v="28950"/>
          <ac:graphicFrameMkLst>
            <pc:docMk/>
            <pc:sldMk cId="2824732361" sldId="4489"/>
            <ac:graphicFrameMk id="7" creationId="{B78F41AE-0B4C-4CAC-7AC8-E4D2A5A35025}"/>
          </ac:graphicFrameMkLst>
        </pc:graphicFrameChg>
        <pc:picChg chg="add mod">
          <ac:chgData name="Polanco Zanetta, Sebastian" userId="679afde1-f2ca-45a1-83ca-bc48414eb788" providerId="ADAL" clId="{B9C06509-25B1-47D3-980D-B34F6BE8753E}" dt="2025-04-30T04:29:40.833" v="32361" actId="1036"/>
          <ac:picMkLst>
            <pc:docMk/>
            <pc:sldMk cId="2824732361" sldId="4489"/>
            <ac:picMk id="2" creationId="{743BA1F8-7EC8-B61C-94C5-966914B6BD79}"/>
          </ac:picMkLst>
        </pc:picChg>
        <pc:picChg chg="add mod ord">
          <ac:chgData name="Polanco Zanetta, Sebastian" userId="679afde1-f2ca-45a1-83ca-bc48414eb788" providerId="ADAL" clId="{B9C06509-25B1-47D3-980D-B34F6BE8753E}" dt="2025-04-29T21:03:24.185" v="28930"/>
          <ac:picMkLst>
            <pc:docMk/>
            <pc:sldMk cId="2824732361" sldId="4489"/>
            <ac:picMk id="17" creationId="{CDE5AA9E-302D-5B19-CA9E-1D4F12B58A82}"/>
          </ac:picMkLst>
        </pc:picChg>
        <pc:picChg chg="add mod ord">
          <ac:chgData name="Polanco Zanetta, Sebastian" userId="679afde1-f2ca-45a1-83ca-bc48414eb788" providerId="ADAL" clId="{B9C06509-25B1-47D3-980D-B34F6BE8753E}" dt="2025-04-29T21:03:24.185" v="28947"/>
          <ac:picMkLst>
            <pc:docMk/>
            <pc:sldMk cId="2824732361" sldId="4489"/>
            <ac:picMk id="28" creationId="{5020D74B-C442-6BB5-929A-600C394704EA}"/>
          </ac:picMkLst>
        </pc:picChg>
        <pc:picChg chg="mod ord">
          <ac:chgData name="Polanco Zanetta, Sebastian" userId="679afde1-f2ca-45a1-83ca-bc48414eb788" providerId="ADAL" clId="{B9C06509-25B1-47D3-980D-B34F6BE8753E}" dt="2025-04-29T21:03:24.183" v="28914"/>
          <ac:picMkLst>
            <pc:docMk/>
            <pc:sldMk cId="2824732361" sldId="4489"/>
            <ac:picMk id="51" creationId="{4AA7C00E-581A-69BF-6765-95F9E18AFEC7}"/>
          </ac:picMkLst>
        </pc:picChg>
        <pc:picChg chg="mod ord">
          <ac:chgData name="Polanco Zanetta, Sebastian" userId="679afde1-f2ca-45a1-83ca-bc48414eb788" providerId="ADAL" clId="{B9C06509-25B1-47D3-980D-B34F6BE8753E}" dt="2025-04-30T04:29:50.156" v="32380" actId="1035"/>
          <ac:picMkLst>
            <pc:docMk/>
            <pc:sldMk cId="2824732361" sldId="4489"/>
            <ac:picMk id="93" creationId="{E41BE717-1EED-F9B6-67BA-D625232F5541}"/>
          </ac:picMkLst>
        </pc:picChg>
        <pc:picChg chg="mod ord">
          <ac:chgData name="Polanco Zanetta, Sebastian" userId="679afde1-f2ca-45a1-83ca-bc48414eb788" providerId="ADAL" clId="{B9C06509-25B1-47D3-980D-B34F6BE8753E}" dt="2025-04-30T04:29:50.156" v="32380" actId="1035"/>
          <ac:picMkLst>
            <pc:docMk/>
            <pc:sldMk cId="2824732361" sldId="4489"/>
            <ac:picMk id="94" creationId="{7B159B20-774D-37B4-5CAC-8731F3DF254B}"/>
          </ac:picMkLst>
        </pc:picChg>
      </pc:sldChg>
      <pc:sldChg chg="addSp delSp modSp add mod">
        <pc:chgData name="Polanco Zanetta, Sebastian" userId="679afde1-f2ca-45a1-83ca-bc48414eb788" providerId="ADAL" clId="{B9C06509-25B1-47D3-980D-B34F6BE8753E}" dt="2025-05-02T17:54:49.848" v="34687" actId="20577"/>
        <pc:sldMkLst>
          <pc:docMk/>
          <pc:sldMk cId="2125061091" sldId="4490"/>
        </pc:sldMkLst>
        <pc:spChg chg="add mod">
          <ac:chgData name="Polanco Zanetta, Sebastian" userId="679afde1-f2ca-45a1-83ca-bc48414eb788" providerId="ADAL" clId="{B9C06509-25B1-47D3-980D-B34F6BE8753E}" dt="2025-04-29T21:02:45.048" v="28562" actId="122"/>
          <ac:spMkLst>
            <pc:docMk/>
            <pc:sldMk cId="2125061091" sldId="4490"/>
            <ac:spMk id="3" creationId="{EB4552C0-83C9-32EA-78A5-BF5E7A4CA747}"/>
          </ac:spMkLst>
        </pc:spChg>
        <pc:spChg chg="add mod">
          <ac:chgData name="Polanco Zanetta, Sebastian" userId="679afde1-f2ca-45a1-83ca-bc48414eb788" providerId="ADAL" clId="{B9C06509-25B1-47D3-980D-B34F6BE8753E}" dt="2025-04-29T21:02:29.286" v="28542"/>
          <ac:spMkLst>
            <pc:docMk/>
            <pc:sldMk cId="2125061091" sldId="4490"/>
            <ac:spMk id="4" creationId="{7E48156E-6A95-A64B-8520-CD11DA6C5EEF}"/>
          </ac:spMkLst>
        </pc:spChg>
        <pc:spChg chg="add mod">
          <ac:chgData name="Polanco Zanetta, Sebastian" userId="679afde1-f2ca-45a1-83ca-bc48414eb788" providerId="ADAL" clId="{B9C06509-25B1-47D3-980D-B34F6BE8753E}" dt="2025-05-02T17:54:49.848" v="34687" actId="20577"/>
          <ac:spMkLst>
            <pc:docMk/>
            <pc:sldMk cId="2125061091" sldId="4490"/>
            <ac:spMk id="5" creationId="{61DC3275-B8D9-B5F5-040F-B12BE9DA1B5D}"/>
          </ac:spMkLst>
        </pc:spChg>
        <pc:spChg chg="mod ord">
          <ac:chgData name="Polanco Zanetta, Sebastian" userId="679afde1-f2ca-45a1-83ca-bc48414eb788" providerId="ADAL" clId="{B9C06509-25B1-47D3-980D-B34F6BE8753E}" dt="2025-04-29T21:02:29.286" v="28515"/>
          <ac:spMkLst>
            <pc:docMk/>
            <pc:sldMk cId="2125061091" sldId="4490"/>
            <ac:spMk id="6" creationId="{BF414253-9FCB-E108-A0A2-3C127AC2421F}"/>
          </ac:spMkLst>
        </pc:spChg>
        <pc:spChg chg="add mod">
          <ac:chgData name="Polanco Zanetta, Sebastian" userId="679afde1-f2ca-45a1-83ca-bc48414eb788" providerId="ADAL" clId="{B9C06509-25B1-47D3-980D-B34F6BE8753E}" dt="2025-04-29T21:02:29.286" v="28530"/>
          <ac:spMkLst>
            <pc:docMk/>
            <pc:sldMk cId="2125061091" sldId="4490"/>
            <ac:spMk id="8" creationId="{9941D662-747A-0476-62DA-A304C4D9229B}"/>
          </ac:spMkLst>
        </pc:spChg>
        <pc:spChg chg="add mod">
          <ac:chgData name="Polanco Zanetta, Sebastian" userId="679afde1-f2ca-45a1-83ca-bc48414eb788" providerId="ADAL" clId="{B9C06509-25B1-47D3-980D-B34F6BE8753E}" dt="2025-05-02T17:53:58.673" v="34663"/>
          <ac:spMkLst>
            <pc:docMk/>
            <pc:sldMk cId="2125061091" sldId="4490"/>
            <ac:spMk id="11" creationId="{780FC4BF-6385-DFE0-D26D-0AB2300C9EC5}"/>
          </ac:spMkLst>
        </pc:spChg>
        <pc:spChg chg="add mod">
          <ac:chgData name="Polanco Zanetta, Sebastian" userId="679afde1-f2ca-45a1-83ca-bc48414eb788" providerId="ADAL" clId="{B9C06509-25B1-47D3-980D-B34F6BE8753E}" dt="2025-04-29T21:02:29.286" v="28543"/>
          <ac:spMkLst>
            <pc:docMk/>
            <pc:sldMk cId="2125061091" sldId="4490"/>
            <ac:spMk id="14" creationId="{7E48156E-6A95-A64B-8520-CD11DA6C5EEF}"/>
          </ac:spMkLst>
        </pc:spChg>
        <pc:spChg chg="add mod">
          <ac:chgData name="Polanco Zanetta, Sebastian" userId="679afde1-f2ca-45a1-83ca-bc48414eb788" providerId="ADAL" clId="{B9C06509-25B1-47D3-980D-B34F6BE8753E}" dt="2025-04-29T21:09:22.379" v="29461" actId="20577"/>
          <ac:spMkLst>
            <pc:docMk/>
            <pc:sldMk cId="2125061091" sldId="4490"/>
            <ac:spMk id="18" creationId="{55B1767B-7A2F-3A6C-9215-692B682C48BE}"/>
          </ac:spMkLst>
        </pc:spChg>
        <pc:spChg chg="add mod">
          <ac:chgData name="Polanco Zanetta, Sebastian" userId="679afde1-f2ca-45a1-83ca-bc48414eb788" providerId="ADAL" clId="{B9C06509-25B1-47D3-980D-B34F6BE8753E}" dt="2025-04-29T21:02:29.286" v="28544"/>
          <ac:spMkLst>
            <pc:docMk/>
            <pc:sldMk cId="2125061091" sldId="4490"/>
            <ac:spMk id="20" creationId="{7E48156E-6A95-A64B-8520-CD11DA6C5EEF}"/>
          </ac:spMkLst>
        </pc:spChg>
        <pc:spChg chg="add mod">
          <ac:chgData name="Polanco Zanetta, Sebastian" userId="679afde1-f2ca-45a1-83ca-bc48414eb788" providerId="ADAL" clId="{B9C06509-25B1-47D3-980D-B34F6BE8753E}" dt="2025-04-29T21:02:29.286" v="28545"/>
          <ac:spMkLst>
            <pc:docMk/>
            <pc:sldMk cId="2125061091" sldId="4490"/>
            <ac:spMk id="21" creationId="{7E48156E-6A95-A64B-8520-CD11DA6C5EEF}"/>
          </ac:spMkLst>
        </pc:spChg>
        <pc:spChg chg="add mod">
          <ac:chgData name="Polanco Zanetta, Sebastian" userId="679afde1-f2ca-45a1-83ca-bc48414eb788" providerId="ADAL" clId="{B9C06509-25B1-47D3-980D-B34F6BE8753E}" dt="2025-04-29T21:02:29.286" v="28546"/>
          <ac:spMkLst>
            <pc:docMk/>
            <pc:sldMk cId="2125061091" sldId="4490"/>
            <ac:spMk id="22" creationId="{7E48156E-6A95-A64B-8520-CD11DA6C5EEF}"/>
          </ac:spMkLst>
        </pc:spChg>
        <pc:spChg chg="add mod">
          <ac:chgData name="Polanco Zanetta, Sebastian" userId="679afde1-f2ca-45a1-83ca-bc48414eb788" providerId="ADAL" clId="{B9C06509-25B1-47D3-980D-B34F6BE8753E}" dt="2025-04-29T21:02:29.286" v="28548"/>
          <ac:spMkLst>
            <pc:docMk/>
            <pc:sldMk cId="2125061091" sldId="4490"/>
            <ac:spMk id="26" creationId="{7E48156E-6A95-A64B-8520-CD11DA6C5EEF}"/>
          </ac:spMkLst>
        </pc:spChg>
        <pc:spChg chg="add mod">
          <ac:chgData name="Polanco Zanetta, Sebastian" userId="679afde1-f2ca-45a1-83ca-bc48414eb788" providerId="ADAL" clId="{B9C06509-25B1-47D3-980D-B34F6BE8753E}" dt="2025-04-29T21:02:29.286" v="28549"/>
          <ac:spMkLst>
            <pc:docMk/>
            <pc:sldMk cId="2125061091" sldId="4490"/>
            <ac:spMk id="28" creationId="{7E48156E-6A95-A64B-8520-CD11DA6C5EEF}"/>
          </ac:spMkLst>
        </pc:spChg>
        <pc:spChg chg="add mod">
          <ac:chgData name="Polanco Zanetta, Sebastian" userId="679afde1-f2ca-45a1-83ca-bc48414eb788" providerId="ADAL" clId="{B9C06509-25B1-47D3-980D-B34F6BE8753E}" dt="2025-04-29T21:02:29.286" v="28550"/>
          <ac:spMkLst>
            <pc:docMk/>
            <pc:sldMk cId="2125061091" sldId="4490"/>
            <ac:spMk id="29" creationId="{7E48156E-6A95-A64B-8520-CD11DA6C5EEF}"/>
          </ac:spMkLst>
        </pc:spChg>
        <pc:spChg chg="add mod">
          <ac:chgData name="Polanco Zanetta, Sebastian" userId="679afde1-f2ca-45a1-83ca-bc48414eb788" providerId="ADAL" clId="{B9C06509-25B1-47D3-980D-B34F6BE8753E}" dt="2025-04-29T21:02:29.286" v="28551"/>
          <ac:spMkLst>
            <pc:docMk/>
            <pc:sldMk cId="2125061091" sldId="4490"/>
            <ac:spMk id="30" creationId="{7E48156E-6A95-A64B-8520-CD11DA6C5EEF}"/>
          </ac:spMkLst>
        </pc:spChg>
        <pc:spChg chg="add mod">
          <ac:chgData name="Polanco Zanetta, Sebastian" userId="679afde1-f2ca-45a1-83ca-bc48414eb788" providerId="ADAL" clId="{B9C06509-25B1-47D3-980D-B34F6BE8753E}" dt="2025-04-29T21:02:29.286" v="28552"/>
          <ac:spMkLst>
            <pc:docMk/>
            <pc:sldMk cId="2125061091" sldId="4490"/>
            <ac:spMk id="31" creationId="{7E48156E-6A95-A64B-8520-CD11DA6C5EEF}"/>
          </ac:spMkLst>
        </pc:spChg>
        <pc:spChg chg="mod ord">
          <ac:chgData name="Polanco Zanetta, Sebastian" userId="679afde1-f2ca-45a1-83ca-bc48414eb788" providerId="ADAL" clId="{B9C06509-25B1-47D3-980D-B34F6BE8753E}" dt="2025-04-30T04:28:40.117" v="32202" actId="20577"/>
          <ac:spMkLst>
            <pc:docMk/>
            <pc:sldMk cId="2125061091" sldId="4490"/>
            <ac:spMk id="73" creationId="{9000E80C-7279-1C28-7A7B-9C69EC4760B8}"/>
          </ac:spMkLst>
        </pc:spChg>
        <pc:graphicFrameChg chg="mod">
          <ac:chgData name="Polanco Zanetta, Sebastian" userId="679afde1-f2ca-45a1-83ca-bc48414eb788" providerId="ADAL" clId="{B9C06509-25B1-47D3-980D-B34F6BE8753E}" dt="2025-04-29T21:02:29.286" v="28556"/>
          <ac:graphicFrameMkLst>
            <pc:docMk/>
            <pc:sldMk cId="2125061091" sldId="4490"/>
            <ac:graphicFrameMk id="7" creationId="{2142E86D-5042-A999-705F-BB951B1722C4}"/>
          </ac:graphicFrameMkLst>
        </pc:graphicFrameChg>
        <pc:picChg chg="add mod ord">
          <ac:chgData name="Polanco Zanetta, Sebastian" userId="679afde1-f2ca-45a1-83ca-bc48414eb788" providerId="ADAL" clId="{B9C06509-25B1-47D3-980D-B34F6BE8753E}" dt="2025-04-29T21:02:47.371" v="28564" actId="1076"/>
          <ac:picMkLst>
            <pc:docMk/>
            <pc:sldMk cId="2125061091" sldId="4490"/>
            <ac:picMk id="2" creationId="{D92E8953-0688-E227-1724-44D3E915F246}"/>
          </ac:picMkLst>
        </pc:picChg>
        <pc:picChg chg="add mod ord">
          <ac:chgData name="Polanco Zanetta, Sebastian" userId="679afde1-f2ca-45a1-83ca-bc48414eb788" providerId="ADAL" clId="{B9C06509-25B1-47D3-980D-B34F6BE8753E}" dt="2025-04-29T21:02:29.286" v="28532"/>
          <ac:picMkLst>
            <pc:docMk/>
            <pc:sldMk cId="2125061091" sldId="4490"/>
            <ac:picMk id="9" creationId="{22991B33-0F6E-A47C-F958-1EA57C721535}"/>
          </ac:picMkLst>
        </pc:picChg>
        <pc:picChg chg="add mod ord">
          <ac:chgData name="Polanco Zanetta, Sebastian" userId="679afde1-f2ca-45a1-83ca-bc48414eb788" providerId="ADAL" clId="{B9C06509-25B1-47D3-980D-B34F6BE8753E}" dt="2025-04-29T21:02:51.384" v="28565" actId="1076"/>
          <ac:picMkLst>
            <pc:docMk/>
            <pc:sldMk cId="2125061091" sldId="4490"/>
            <ac:picMk id="17" creationId="{B85AAE45-5516-AF86-4D35-48E77B5A1DCD}"/>
          </ac:picMkLst>
        </pc:picChg>
        <pc:picChg chg="mod ord">
          <ac:chgData name="Polanco Zanetta, Sebastian" userId="679afde1-f2ca-45a1-83ca-bc48414eb788" providerId="ADAL" clId="{B9C06509-25B1-47D3-980D-B34F6BE8753E}" dt="2025-04-30T04:28:34.499" v="32192" actId="1035"/>
          <ac:picMkLst>
            <pc:docMk/>
            <pc:sldMk cId="2125061091" sldId="4490"/>
            <ac:picMk id="74" creationId="{471C136E-FB79-1F57-4F0E-DD2696D0991B}"/>
          </ac:picMkLst>
        </pc:picChg>
        <pc:picChg chg="mod ord">
          <ac:chgData name="Polanco Zanetta, Sebastian" userId="679afde1-f2ca-45a1-83ca-bc48414eb788" providerId="ADAL" clId="{B9C06509-25B1-47D3-980D-B34F6BE8753E}" dt="2025-04-30T04:28:30.555" v="32185" actId="1035"/>
          <ac:picMkLst>
            <pc:docMk/>
            <pc:sldMk cId="2125061091" sldId="4490"/>
            <ac:picMk id="75" creationId="{3EE01F89-0EAA-515B-953A-C4A90EEC8E30}"/>
          </ac:picMkLst>
        </pc:picChg>
        <pc:picChg chg="mod ord">
          <ac:chgData name="Polanco Zanetta, Sebastian" userId="679afde1-f2ca-45a1-83ca-bc48414eb788" providerId="ADAL" clId="{B9C06509-25B1-47D3-980D-B34F6BE8753E}" dt="2025-04-30T04:28:48.665" v="32213" actId="1035"/>
          <ac:picMkLst>
            <pc:docMk/>
            <pc:sldMk cId="2125061091" sldId="4490"/>
            <ac:picMk id="93" creationId="{1133B4E6-E29B-C5EC-6CA1-5AA88538E59B}"/>
          </ac:picMkLst>
        </pc:picChg>
        <pc:picChg chg="mod ord">
          <ac:chgData name="Polanco Zanetta, Sebastian" userId="679afde1-f2ca-45a1-83ca-bc48414eb788" providerId="ADAL" clId="{B9C06509-25B1-47D3-980D-B34F6BE8753E}" dt="2025-04-30T04:28:51.927" v="32228" actId="1035"/>
          <ac:picMkLst>
            <pc:docMk/>
            <pc:sldMk cId="2125061091" sldId="4490"/>
            <ac:picMk id="94" creationId="{278EDCDC-0114-3DDD-B79E-292C5C7A4B0C}"/>
          </ac:picMkLst>
        </pc:picChg>
      </pc:sldChg>
      <pc:sldChg chg="add del">
        <pc:chgData name="Polanco Zanetta, Sebastian" userId="679afde1-f2ca-45a1-83ca-bc48414eb788" providerId="ADAL" clId="{B9C06509-25B1-47D3-980D-B34F6BE8753E}" dt="2025-04-22T19:00:06.125" v="6540" actId="47"/>
        <pc:sldMkLst>
          <pc:docMk/>
          <pc:sldMk cId="3692406912" sldId="4490"/>
        </pc:sldMkLst>
      </pc:sldChg>
      <pc:sldChg chg="addSp delSp modSp add mod">
        <pc:chgData name="Polanco Zanetta, Sebastian" userId="679afde1-f2ca-45a1-83ca-bc48414eb788" providerId="ADAL" clId="{B9C06509-25B1-47D3-980D-B34F6BE8753E}" dt="2025-05-02T17:54:53.258" v="34689" actId="20577"/>
        <pc:sldMkLst>
          <pc:docMk/>
          <pc:sldMk cId="1487440770" sldId="4491"/>
        </pc:sldMkLst>
        <pc:spChg chg="add mod">
          <ac:chgData name="Polanco Zanetta, Sebastian" userId="679afde1-f2ca-45a1-83ca-bc48414eb788" providerId="ADAL" clId="{B9C06509-25B1-47D3-980D-B34F6BE8753E}" dt="2025-05-02T17:54:53.258" v="34689" actId="20577"/>
          <ac:spMkLst>
            <pc:docMk/>
            <pc:sldMk cId="1487440770" sldId="4491"/>
            <ac:spMk id="2" creationId="{AC31CF0C-F5C9-55FB-B7FE-56A979BB9F4F}"/>
          </ac:spMkLst>
        </pc:spChg>
        <pc:spChg chg="add mod">
          <ac:chgData name="Polanco Zanetta, Sebastian" userId="679afde1-f2ca-45a1-83ca-bc48414eb788" providerId="ADAL" clId="{B9C06509-25B1-47D3-980D-B34F6BE8753E}" dt="2025-05-02T17:54:00.033" v="34664"/>
          <ac:spMkLst>
            <pc:docMk/>
            <pc:sldMk cId="1487440770" sldId="4491"/>
            <ac:spMk id="3" creationId="{10A336F2-66C8-56E7-DEC1-1F9873ED4ADF}"/>
          </ac:spMkLst>
        </pc:spChg>
        <pc:spChg chg="mod">
          <ac:chgData name="Polanco Zanetta, Sebastian" userId="679afde1-f2ca-45a1-83ca-bc48414eb788" providerId="ADAL" clId="{B9C06509-25B1-47D3-980D-B34F6BE8753E}" dt="2025-04-29T21:06:58.196" v="29425"/>
          <ac:spMkLst>
            <pc:docMk/>
            <pc:sldMk cId="1487440770" sldId="4491"/>
            <ac:spMk id="8" creationId="{08B006DB-8627-1C79-E070-93D5B2B994B2}"/>
          </ac:spMkLst>
        </pc:spChg>
        <pc:spChg chg="add mod ord">
          <ac:chgData name="Polanco Zanetta, Sebastian" userId="679afde1-f2ca-45a1-83ca-bc48414eb788" providerId="ADAL" clId="{B9C06509-25B1-47D3-980D-B34F6BE8753E}" dt="2025-04-29T21:06:58.180" v="29405"/>
          <ac:spMkLst>
            <pc:docMk/>
            <pc:sldMk cId="1487440770" sldId="4491"/>
            <ac:spMk id="18" creationId="{8035E710-3277-BF78-97F7-CD5FEA0CFCFA}"/>
          </ac:spMkLst>
        </pc:spChg>
        <pc:spChg chg="add mod">
          <ac:chgData name="Polanco Zanetta, Sebastian" userId="679afde1-f2ca-45a1-83ca-bc48414eb788" providerId="ADAL" clId="{B9C06509-25B1-47D3-980D-B34F6BE8753E}" dt="2025-04-29T21:06:58.196" v="29432"/>
          <ac:spMkLst>
            <pc:docMk/>
            <pc:sldMk cId="1487440770" sldId="4491"/>
            <ac:spMk id="65" creationId="{7E48156E-6A95-A64B-8520-CD11DA6C5EEF}"/>
          </ac:spMkLst>
        </pc:spChg>
        <pc:spChg chg="add mod">
          <ac:chgData name="Polanco Zanetta, Sebastian" userId="679afde1-f2ca-45a1-83ca-bc48414eb788" providerId="ADAL" clId="{B9C06509-25B1-47D3-980D-B34F6BE8753E}" dt="2025-04-29T21:06:58.196" v="29433"/>
          <ac:spMkLst>
            <pc:docMk/>
            <pc:sldMk cId="1487440770" sldId="4491"/>
            <ac:spMk id="67" creationId="{7E48156E-6A95-A64B-8520-CD11DA6C5EEF}"/>
          </ac:spMkLst>
        </pc:spChg>
        <pc:spChg chg="add mod">
          <ac:chgData name="Polanco Zanetta, Sebastian" userId="679afde1-f2ca-45a1-83ca-bc48414eb788" providerId="ADAL" clId="{B9C06509-25B1-47D3-980D-B34F6BE8753E}" dt="2025-04-29T21:06:58.196" v="29434"/>
          <ac:spMkLst>
            <pc:docMk/>
            <pc:sldMk cId="1487440770" sldId="4491"/>
            <ac:spMk id="68" creationId="{7E48156E-6A95-A64B-8520-CD11DA6C5EEF}"/>
          </ac:spMkLst>
        </pc:spChg>
        <pc:spChg chg="add mod">
          <ac:chgData name="Polanco Zanetta, Sebastian" userId="679afde1-f2ca-45a1-83ca-bc48414eb788" providerId="ADAL" clId="{B9C06509-25B1-47D3-980D-B34F6BE8753E}" dt="2025-04-29T21:06:58.196" v="29435"/>
          <ac:spMkLst>
            <pc:docMk/>
            <pc:sldMk cId="1487440770" sldId="4491"/>
            <ac:spMk id="69" creationId="{7E48156E-6A95-A64B-8520-CD11DA6C5EEF}"/>
          </ac:spMkLst>
        </pc:spChg>
        <pc:spChg chg="add mod">
          <ac:chgData name="Polanco Zanetta, Sebastian" userId="679afde1-f2ca-45a1-83ca-bc48414eb788" providerId="ADAL" clId="{B9C06509-25B1-47D3-980D-B34F6BE8753E}" dt="2025-04-29T21:06:58.196" v="29436"/>
          <ac:spMkLst>
            <pc:docMk/>
            <pc:sldMk cId="1487440770" sldId="4491"/>
            <ac:spMk id="70" creationId="{7E48156E-6A95-A64B-8520-CD11DA6C5EEF}"/>
          </ac:spMkLst>
        </pc:spChg>
        <pc:spChg chg="mod ord">
          <ac:chgData name="Polanco Zanetta, Sebastian" userId="679afde1-f2ca-45a1-83ca-bc48414eb788" providerId="ADAL" clId="{B9C06509-25B1-47D3-980D-B34F6BE8753E}" dt="2025-04-30T04:27:38.109" v="31977" actId="20577"/>
          <ac:spMkLst>
            <pc:docMk/>
            <pc:sldMk cId="1487440770" sldId="4491"/>
            <ac:spMk id="73" creationId="{16197363-1139-32D2-8E00-C9717C1176F5}"/>
          </ac:spMkLst>
        </pc:spChg>
        <pc:spChg chg="add mod">
          <ac:chgData name="Polanco Zanetta, Sebastian" userId="679afde1-f2ca-45a1-83ca-bc48414eb788" providerId="ADAL" clId="{B9C06509-25B1-47D3-980D-B34F6BE8753E}" dt="2025-04-29T21:06:58.196" v="29438"/>
          <ac:spMkLst>
            <pc:docMk/>
            <pc:sldMk cId="1487440770" sldId="4491"/>
            <ac:spMk id="79" creationId="{7E48156E-6A95-A64B-8520-CD11DA6C5EEF}"/>
          </ac:spMkLst>
        </pc:spChg>
        <pc:spChg chg="add mod">
          <ac:chgData name="Polanco Zanetta, Sebastian" userId="679afde1-f2ca-45a1-83ca-bc48414eb788" providerId="ADAL" clId="{B9C06509-25B1-47D3-980D-B34F6BE8753E}" dt="2025-04-29T21:06:58.196" v="29439"/>
          <ac:spMkLst>
            <pc:docMk/>
            <pc:sldMk cId="1487440770" sldId="4491"/>
            <ac:spMk id="81" creationId="{7E48156E-6A95-A64B-8520-CD11DA6C5EEF}"/>
          </ac:spMkLst>
        </pc:spChg>
        <pc:spChg chg="add mod">
          <ac:chgData name="Polanco Zanetta, Sebastian" userId="679afde1-f2ca-45a1-83ca-bc48414eb788" providerId="ADAL" clId="{B9C06509-25B1-47D3-980D-B34F6BE8753E}" dt="2025-04-29T21:06:58.196" v="29440"/>
          <ac:spMkLst>
            <pc:docMk/>
            <pc:sldMk cId="1487440770" sldId="4491"/>
            <ac:spMk id="82" creationId="{7E48156E-6A95-A64B-8520-CD11DA6C5EEF}"/>
          </ac:spMkLst>
        </pc:spChg>
        <pc:spChg chg="add mod">
          <ac:chgData name="Polanco Zanetta, Sebastian" userId="679afde1-f2ca-45a1-83ca-bc48414eb788" providerId="ADAL" clId="{B9C06509-25B1-47D3-980D-B34F6BE8753E}" dt="2025-04-29T21:06:58.196" v="29441"/>
          <ac:spMkLst>
            <pc:docMk/>
            <pc:sldMk cId="1487440770" sldId="4491"/>
            <ac:spMk id="83" creationId="{7E48156E-6A95-A64B-8520-CD11DA6C5EEF}"/>
          </ac:spMkLst>
        </pc:spChg>
        <pc:spChg chg="add mod">
          <ac:chgData name="Polanco Zanetta, Sebastian" userId="679afde1-f2ca-45a1-83ca-bc48414eb788" providerId="ADAL" clId="{B9C06509-25B1-47D3-980D-B34F6BE8753E}" dt="2025-04-29T21:06:58.196" v="29442"/>
          <ac:spMkLst>
            <pc:docMk/>
            <pc:sldMk cId="1487440770" sldId="4491"/>
            <ac:spMk id="84" creationId="{7E48156E-6A95-A64B-8520-CD11DA6C5EEF}"/>
          </ac:spMkLst>
        </pc:spChg>
        <pc:graphicFrameChg chg="mod">
          <ac:chgData name="Polanco Zanetta, Sebastian" userId="679afde1-f2ca-45a1-83ca-bc48414eb788" providerId="ADAL" clId="{B9C06509-25B1-47D3-980D-B34F6BE8753E}" dt="2025-04-29T21:06:58.196" v="29446"/>
          <ac:graphicFrameMkLst>
            <pc:docMk/>
            <pc:sldMk cId="1487440770" sldId="4491"/>
            <ac:graphicFrameMk id="7" creationId="{09519310-A3B5-0B0E-3D8D-BD12CB6BC32C}"/>
          </ac:graphicFrameMkLst>
        </pc:graphicFrameChg>
        <pc:picChg chg="add mod ord">
          <ac:chgData name="Polanco Zanetta, Sebastian" userId="679afde1-f2ca-45a1-83ca-bc48414eb788" providerId="ADAL" clId="{B9C06509-25B1-47D3-980D-B34F6BE8753E}" dt="2025-04-29T21:06:58.180" v="29407"/>
          <ac:picMkLst>
            <pc:docMk/>
            <pc:sldMk cId="1487440770" sldId="4491"/>
            <ac:picMk id="4" creationId="{D37E305E-516B-5628-C6B2-87C04A81DA4F}"/>
          </ac:picMkLst>
        </pc:picChg>
        <pc:picChg chg="mod ord">
          <ac:chgData name="Polanco Zanetta, Sebastian" userId="679afde1-f2ca-45a1-83ca-bc48414eb788" providerId="ADAL" clId="{B9C06509-25B1-47D3-980D-B34F6BE8753E}" dt="2025-04-29T21:06:58.196" v="29414"/>
          <ac:picMkLst>
            <pc:docMk/>
            <pc:sldMk cId="1487440770" sldId="4491"/>
            <ac:picMk id="74" creationId="{F0E66704-FF7B-4255-C512-042341EC1501}"/>
          </ac:picMkLst>
        </pc:picChg>
        <pc:picChg chg="add del mod ord">
          <ac:chgData name="Polanco Zanetta, Sebastian" userId="679afde1-f2ca-45a1-83ca-bc48414eb788" providerId="ADAL" clId="{B9C06509-25B1-47D3-980D-B34F6BE8753E}" dt="2025-04-30T04:28:07.266" v="32071" actId="1035"/>
          <ac:picMkLst>
            <pc:docMk/>
            <pc:sldMk cId="1487440770" sldId="4491"/>
            <ac:picMk id="75" creationId="{12DA33B0-2DF0-C92C-116C-600561AD050D}"/>
          </ac:picMkLst>
        </pc:picChg>
        <pc:picChg chg="mod ord">
          <ac:chgData name="Polanco Zanetta, Sebastian" userId="679afde1-f2ca-45a1-83ca-bc48414eb788" providerId="ADAL" clId="{B9C06509-25B1-47D3-980D-B34F6BE8753E}" dt="2025-04-30T04:28:12.072" v="32108" actId="1036"/>
          <ac:picMkLst>
            <pc:docMk/>
            <pc:sldMk cId="1487440770" sldId="4491"/>
            <ac:picMk id="90" creationId="{26E2F729-8346-B707-9945-69C0E819685A}"/>
          </ac:picMkLst>
        </pc:picChg>
        <pc:picChg chg="mod ord">
          <ac:chgData name="Polanco Zanetta, Sebastian" userId="679afde1-f2ca-45a1-83ca-bc48414eb788" providerId="ADAL" clId="{B9C06509-25B1-47D3-980D-B34F6BE8753E}" dt="2025-04-30T04:28:17.403" v="32137" actId="1036"/>
          <ac:picMkLst>
            <pc:docMk/>
            <pc:sldMk cId="1487440770" sldId="4491"/>
            <ac:picMk id="94" creationId="{A0D88AF8-6B32-A2C0-B1E7-D2ED47476318}"/>
          </ac:picMkLst>
        </pc:picChg>
      </pc:sldChg>
      <pc:sldChg chg="add del">
        <pc:chgData name="Polanco Zanetta, Sebastian" userId="679afde1-f2ca-45a1-83ca-bc48414eb788" providerId="ADAL" clId="{B9C06509-25B1-47D3-980D-B34F6BE8753E}" dt="2025-04-22T19:00:07.381" v="6541" actId="47"/>
        <pc:sldMkLst>
          <pc:docMk/>
          <pc:sldMk cId="2666472719" sldId="4491"/>
        </pc:sldMkLst>
      </pc:sldChg>
      <pc:sldChg chg="addSp delSp modSp add mod">
        <pc:chgData name="Polanco Zanetta, Sebastian" userId="679afde1-f2ca-45a1-83ca-bc48414eb788" providerId="ADAL" clId="{B9C06509-25B1-47D3-980D-B34F6BE8753E}" dt="2025-05-02T17:54:18.136" v="34672"/>
        <pc:sldMkLst>
          <pc:docMk/>
          <pc:sldMk cId="3588734151" sldId="4492"/>
        </pc:sldMkLst>
        <pc:spChg chg="add mod">
          <ac:chgData name="Polanco Zanetta, Sebastian" userId="679afde1-f2ca-45a1-83ca-bc48414eb788" providerId="ADAL" clId="{B9C06509-25B1-47D3-980D-B34F6BE8753E}" dt="2025-05-02T17:54:18.136" v="34672"/>
          <ac:spMkLst>
            <pc:docMk/>
            <pc:sldMk cId="3588734151" sldId="4492"/>
            <ac:spMk id="2" creationId="{D582C5A3-95A7-C0D3-A786-495E259F19F7}"/>
          </ac:spMkLst>
        </pc:spChg>
        <pc:spChg chg="add mod">
          <ac:chgData name="Polanco Zanetta, Sebastian" userId="679afde1-f2ca-45a1-83ca-bc48414eb788" providerId="ADAL" clId="{B9C06509-25B1-47D3-980D-B34F6BE8753E}" dt="2025-05-02T01:33:00.975" v="33784"/>
          <ac:spMkLst>
            <pc:docMk/>
            <pc:sldMk cId="3588734151" sldId="4492"/>
            <ac:spMk id="3" creationId="{3ECA1541-688F-B5E7-50D7-72919A285BA4}"/>
          </ac:spMkLst>
        </pc:spChg>
        <pc:spChg chg="add mod">
          <ac:chgData name="Polanco Zanetta, Sebastian" userId="679afde1-f2ca-45a1-83ca-bc48414eb788" providerId="ADAL" clId="{B9C06509-25B1-47D3-980D-B34F6BE8753E}" dt="2025-04-28T21:12:31.151" v="17230"/>
          <ac:spMkLst>
            <pc:docMk/>
            <pc:sldMk cId="3588734151" sldId="4492"/>
            <ac:spMk id="18" creationId="{1C9608CD-B63B-97F5-5CD7-110FE888B541}"/>
          </ac:spMkLst>
        </pc:spChg>
        <pc:spChg chg="add mod">
          <ac:chgData name="Polanco Zanetta, Sebastian" userId="679afde1-f2ca-45a1-83ca-bc48414eb788" providerId="ADAL" clId="{B9C06509-25B1-47D3-980D-B34F6BE8753E}" dt="2025-04-28T21:12:31.151" v="17213"/>
          <ac:spMkLst>
            <pc:docMk/>
            <pc:sldMk cId="3588734151" sldId="4492"/>
            <ac:spMk id="19" creationId="{6FB274BF-95B4-08E3-CB2A-D2202F6AE7E7}"/>
          </ac:spMkLst>
        </pc:spChg>
        <pc:spChg chg="add mod">
          <ac:chgData name="Polanco Zanetta, Sebastian" userId="679afde1-f2ca-45a1-83ca-bc48414eb788" providerId="ADAL" clId="{B9C06509-25B1-47D3-980D-B34F6BE8753E}" dt="2025-04-28T21:12:31.151" v="17214"/>
          <ac:spMkLst>
            <pc:docMk/>
            <pc:sldMk cId="3588734151" sldId="4492"/>
            <ac:spMk id="20" creationId="{576AB23E-2E28-E89A-2817-FE655EFD8D94}"/>
          </ac:spMkLst>
        </pc:spChg>
        <pc:spChg chg="add mod ord">
          <ac:chgData name="Polanco Zanetta, Sebastian" userId="679afde1-f2ca-45a1-83ca-bc48414eb788" providerId="ADAL" clId="{B9C06509-25B1-47D3-980D-B34F6BE8753E}" dt="2025-04-28T21:12:31.151" v="17216"/>
          <ac:spMkLst>
            <pc:docMk/>
            <pc:sldMk cId="3588734151" sldId="4492"/>
            <ac:spMk id="21" creationId="{1833C855-E43A-B583-8AFD-ED8D3A5DF379}"/>
          </ac:spMkLst>
        </pc:spChg>
        <pc:spChg chg="mod">
          <ac:chgData name="Polanco Zanetta, Sebastian" userId="679afde1-f2ca-45a1-83ca-bc48414eb788" providerId="ADAL" clId="{B9C06509-25B1-47D3-980D-B34F6BE8753E}" dt="2025-04-28T21:12:31.151" v="17217"/>
          <ac:spMkLst>
            <pc:docMk/>
            <pc:sldMk cId="3588734151" sldId="4492"/>
            <ac:spMk id="22" creationId="{7E965BC1-D0E8-F348-D370-0927DE0C51A7}"/>
          </ac:spMkLst>
        </pc:spChg>
        <pc:spChg chg="mod">
          <ac:chgData name="Polanco Zanetta, Sebastian" userId="679afde1-f2ca-45a1-83ca-bc48414eb788" providerId="ADAL" clId="{B9C06509-25B1-47D3-980D-B34F6BE8753E}" dt="2025-04-28T21:12:31.151" v="17218"/>
          <ac:spMkLst>
            <pc:docMk/>
            <pc:sldMk cId="3588734151" sldId="4492"/>
            <ac:spMk id="23" creationId="{328BE3A9-CCA5-3A57-83E6-CE390B3FFA2C}"/>
          </ac:spMkLst>
        </pc:spChg>
        <pc:spChg chg="mod ord">
          <ac:chgData name="Polanco Zanetta, Sebastian" userId="679afde1-f2ca-45a1-83ca-bc48414eb788" providerId="ADAL" clId="{B9C06509-25B1-47D3-980D-B34F6BE8753E}" dt="2025-04-28T21:12:31.151" v="17220"/>
          <ac:spMkLst>
            <pc:docMk/>
            <pc:sldMk cId="3588734151" sldId="4492"/>
            <ac:spMk id="24" creationId="{48578A17-ED80-12C7-81D5-95C14AABDDD4}"/>
          </ac:spMkLst>
        </pc:spChg>
        <pc:spChg chg="add mod">
          <ac:chgData name="Polanco Zanetta, Sebastian" userId="679afde1-f2ca-45a1-83ca-bc48414eb788" providerId="ADAL" clId="{B9C06509-25B1-47D3-980D-B34F6BE8753E}" dt="2025-04-28T21:12:31.151" v="17221"/>
          <ac:spMkLst>
            <pc:docMk/>
            <pc:sldMk cId="3588734151" sldId="4492"/>
            <ac:spMk id="25" creationId="{9D3BED3E-A668-AACF-4176-AE7D63F5779D}"/>
          </ac:spMkLst>
        </pc:spChg>
        <pc:spChg chg="mod">
          <ac:chgData name="Polanco Zanetta, Sebastian" userId="679afde1-f2ca-45a1-83ca-bc48414eb788" providerId="ADAL" clId="{B9C06509-25B1-47D3-980D-B34F6BE8753E}" dt="2025-04-28T21:12:31.151" v="17227"/>
          <ac:spMkLst>
            <pc:docMk/>
            <pc:sldMk cId="3588734151" sldId="4492"/>
            <ac:spMk id="26" creationId="{3731F9F4-3C79-40EF-3B12-4D9D9A4FA7DC}"/>
          </ac:spMkLst>
        </pc:spChg>
        <pc:spChg chg="add mod">
          <ac:chgData name="Polanco Zanetta, Sebastian" userId="679afde1-f2ca-45a1-83ca-bc48414eb788" providerId="ADAL" clId="{B9C06509-25B1-47D3-980D-B34F6BE8753E}" dt="2025-04-28T21:12:31.151" v="17224"/>
          <ac:spMkLst>
            <pc:docMk/>
            <pc:sldMk cId="3588734151" sldId="4492"/>
            <ac:spMk id="27" creationId="{CE5285EA-5A2E-56F6-7E55-E4C443E0A6CE}"/>
          </ac:spMkLst>
        </pc:spChg>
        <pc:spChg chg="mod ord">
          <ac:chgData name="Polanco Zanetta, Sebastian" userId="679afde1-f2ca-45a1-83ca-bc48414eb788" providerId="ADAL" clId="{B9C06509-25B1-47D3-980D-B34F6BE8753E}" dt="2025-04-28T21:12:31.151" v="17232"/>
          <ac:spMkLst>
            <pc:docMk/>
            <pc:sldMk cId="3588734151" sldId="4492"/>
            <ac:spMk id="34" creationId="{4437F47D-DF4B-6736-BD79-86428FDFCBDA}"/>
          </ac:spMkLst>
        </pc:spChg>
        <pc:spChg chg="add mod ord">
          <ac:chgData name="Polanco Zanetta, Sebastian" userId="679afde1-f2ca-45a1-83ca-bc48414eb788" providerId="ADAL" clId="{B9C06509-25B1-47D3-980D-B34F6BE8753E}" dt="2025-04-28T21:12:31.136" v="17175"/>
          <ac:spMkLst>
            <pc:docMk/>
            <pc:sldMk cId="3588734151" sldId="4492"/>
            <ac:spMk id="38" creationId="{5888C14E-C847-3D89-E700-B72718512160}"/>
          </ac:spMkLst>
        </pc:spChg>
        <pc:spChg chg="add mod ord">
          <ac:chgData name="Polanco Zanetta, Sebastian" userId="679afde1-f2ca-45a1-83ca-bc48414eb788" providerId="ADAL" clId="{B9C06509-25B1-47D3-980D-B34F6BE8753E}" dt="2025-04-30T04:45:55.912" v="33393" actId="20577"/>
          <ac:spMkLst>
            <pc:docMk/>
            <pc:sldMk cId="3588734151" sldId="4492"/>
            <ac:spMk id="39" creationId="{C5C632ED-F0C9-5F91-6E50-42894B45EE59}"/>
          </ac:spMkLst>
        </pc:spChg>
        <pc:spChg chg="add mod ord">
          <ac:chgData name="Polanco Zanetta, Sebastian" userId="679afde1-f2ca-45a1-83ca-bc48414eb788" providerId="ADAL" clId="{B9C06509-25B1-47D3-980D-B34F6BE8753E}" dt="2025-04-28T21:12:31.151" v="17236"/>
          <ac:spMkLst>
            <pc:docMk/>
            <pc:sldMk cId="3588734151" sldId="4492"/>
            <ac:spMk id="40" creationId="{5CD10536-702D-8D36-2990-900D938B40F7}"/>
          </ac:spMkLst>
        </pc:spChg>
        <pc:spChg chg="add mod ord">
          <ac:chgData name="Polanco Zanetta, Sebastian" userId="679afde1-f2ca-45a1-83ca-bc48414eb788" providerId="ADAL" clId="{B9C06509-25B1-47D3-980D-B34F6BE8753E}" dt="2025-04-28T21:12:31.151" v="17223"/>
          <ac:spMkLst>
            <pc:docMk/>
            <pc:sldMk cId="3588734151" sldId="4492"/>
            <ac:spMk id="41" creationId="{7E48156E-6A95-A64B-8520-CD11DA6C5EEF}"/>
          </ac:spMkLst>
        </pc:spChg>
        <pc:spChg chg="add mod ord">
          <ac:chgData name="Polanco Zanetta, Sebastian" userId="679afde1-f2ca-45a1-83ca-bc48414eb788" providerId="ADAL" clId="{B9C06509-25B1-47D3-980D-B34F6BE8753E}" dt="2025-04-28T21:12:31.151" v="17238"/>
          <ac:spMkLst>
            <pc:docMk/>
            <pc:sldMk cId="3588734151" sldId="4492"/>
            <ac:spMk id="44" creationId="{1B7B0060-1FD7-E355-E75A-929F86A31B7E}"/>
          </ac:spMkLst>
        </pc:spChg>
        <pc:spChg chg="add mod ord">
          <ac:chgData name="Polanco Zanetta, Sebastian" userId="679afde1-f2ca-45a1-83ca-bc48414eb788" providerId="ADAL" clId="{B9C06509-25B1-47D3-980D-B34F6BE8753E}" dt="2025-04-28T21:12:31.151" v="17240"/>
          <ac:spMkLst>
            <pc:docMk/>
            <pc:sldMk cId="3588734151" sldId="4492"/>
            <ac:spMk id="48" creationId="{F7E27F8D-9E9F-34FC-FAED-6DEC59F7549F}"/>
          </ac:spMkLst>
        </pc:spChg>
        <pc:spChg chg="add mod ord">
          <ac:chgData name="Polanco Zanetta, Sebastian" userId="679afde1-f2ca-45a1-83ca-bc48414eb788" providerId="ADAL" clId="{B9C06509-25B1-47D3-980D-B34F6BE8753E}" dt="2025-04-28T21:12:31.151" v="17226"/>
          <ac:spMkLst>
            <pc:docMk/>
            <pc:sldMk cId="3588734151" sldId="4492"/>
            <ac:spMk id="54" creationId="{7E48156E-6A95-A64B-8520-CD11DA6C5EEF}"/>
          </ac:spMkLst>
        </pc:spChg>
        <pc:spChg chg="add mod ord">
          <ac:chgData name="Polanco Zanetta, Sebastian" userId="679afde1-f2ca-45a1-83ca-bc48414eb788" providerId="ADAL" clId="{B9C06509-25B1-47D3-980D-B34F6BE8753E}" dt="2025-04-28T21:12:31.136" v="17193"/>
          <ac:spMkLst>
            <pc:docMk/>
            <pc:sldMk cId="3588734151" sldId="4492"/>
            <ac:spMk id="55" creationId="{619D340A-A5BA-4DF7-63CF-5AEE6F7C42F6}"/>
          </ac:spMkLst>
        </pc:spChg>
        <pc:spChg chg="add mod">
          <ac:chgData name="Polanco Zanetta, Sebastian" userId="679afde1-f2ca-45a1-83ca-bc48414eb788" providerId="ADAL" clId="{B9C06509-25B1-47D3-980D-B34F6BE8753E}" dt="2025-04-28T21:12:31.151" v="17228"/>
          <ac:spMkLst>
            <pc:docMk/>
            <pc:sldMk cId="3588734151" sldId="4492"/>
            <ac:spMk id="63" creationId="{7E48156E-6A95-A64B-8520-CD11DA6C5EEF}"/>
          </ac:spMkLst>
        </pc:spChg>
        <pc:spChg chg="add mod">
          <ac:chgData name="Polanco Zanetta, Sebastian" userId="679afde1-f2ca-45a1-83ca-bc48414eb788" providerId="ADAL" clId="{B9C06509-25B1-47D3-980D-B34F6BE8753E}" dt="2025-04-28T21:12:31.151" v="17229"/>
          <ac:spMkLst>
            <pc:docMk/>
            <pc:sldMk cId="3588734151" sldId="4492"/>
            <ac:spMk id="65" creationId="{7E48156E-6A95-A64B-8520-CD11DA6C5EEF}"/>
          </ac:spMkLst>
        </pc:spChg>
        <pc:graphicFrameChg chg="mod">
          <ac:chgData name="Polanco Zanetta, Sebastian" userId="679afde1-f2ca-45a1-83ca-bc48414eb788" providerId="ADAL" clId="{B9C06509-25B1-47D3-980D-B34F6BE8753E}" dt="2025-04-28T21:12:31.151" v="17244"/>
          <ac:graphicFrameMkLst>
            <pc:docMk/>
            <pc:sldMk cId="3588734151" sldId="4492"/>
            <ac:graphicFrameMk id="7" creationId="{FC72A999-046F-48D0-9C93-361ADD5CEE45}"/>
          </ac:graphicFrameMkLst>
        </pc:graphicFrameChg>
        <pc:cxnChg chg="mod ord">
          <ac:chgData name="Polanco Zanetta, Sebastian" userId="679afde1-f2ca-45a1-83ca-bc48414eb788" providerId="ADAL" clId="{B9C06509-25B1-47D3-980D-B34F6BE8753E}" dt="2025-04-28T21:12:31.136" v="17181"/>
          <ac:cxnSpMkLst>
            <pc:docMk/>
            <pc:sldMk cId="3588734151" sldId="4492"/>
            <ac:cxnSpMk id="4" creationId="{417F008D-F280-0036-21A0-5C8A3B95DD8C}"/>
          </ac:cxnSpMkLst>
        </pc:cxnChg>
        <pc:cxnChg chg="mod ord">
          <ac:chgData name="Polanco Zanetta, Sebastian" userId="679afde1-f2ca-45a1-83ca-bc48414eb788" providerId="ADAL" clId="{B9C06509-25B1-47D3-980D-B34F6BE8753E}" dt="2025-04-28T21:12:31.136" v="17179"/>
          <ac:cxnSpMkLst>
            <pc:docMk/>
            <pc:sldMk cId="3588734151" sldId="4492"/>
            <ac:cxnSpMk id="5" creationId="{231FD766-2D94-82C5-0FB2-80E0CFADB14D}"/>
          </ac:cxnSpMkLst>
        </pc:cxnChg>
        <pc:cxnChg chg="mod ord">
          <ac:chgData name="Polanco Zanetta, Sebastian" userId="679afde1-f2ca-45a1-83ca-bc48414eb788" providerId="ADAL" clId="{B9C06509-25B1-47D3-980D-B34F6BE8753E}" dt="2025-04-28T21:12:31.136" v="17191"/>
          <ac:cxnSpMkLst>
            <pc:docMk/>
            <pc:sldMk cId="3588734151" sldId="4492"/>
            <ac:cxnSpMk id="6" creationId="{463F4CCC-CAA0-E3A4-630D-DC54D92DFED2}"/>
          </ac:cxnSpMkLst>
        </pc:cxnChg>
        <pc:cxnChg chg="mod ord">
          <ac:chgData name="Polanco Zanetta, Sebastian" userId="679afde1-f2ca-45a1-83ca-bc48414eb788" providerId="ADAL" clId="{B9C06509-25B1-47D3-980D-B34F6BE8753E}" dt="2025-04-28T21:12:31.136" v="17189"/>
          <ac:cxnSpMkLst>
            <pc:docMk/>
            <pc:sldMk cId="3588734151" sldId="4492"/>
            <ac:cxnSpMk id="8" creationId="{89753DCC-F744-98D8-8D90-B999AC9EE64F}"/>
          </ac:cxnSpMkLst>
        </pc:cxnChg>
        <pc:cxnChg chg="mod ord">
          <ac:chgData name="Polanco Zanetta, Sebastian" userId="679afde1-f2ca-45a1-83ca-bc48414eb788" providerId="ADAL" clId="{B9C06509-25B1-47D3-980D-B34F6BE8753E}" dt="2025-04-28T21:12:31.136" v="17187"/>
          <ac:cxnSpMkLst>
            <pc:docMk/>
            <pc:sldMk cId="3588734151" sldId="4492"/>
            <ac:cxnSpMk id="9" creationId="{CD832CF7-1EC7-23F9-947B-8D31604EEC84}"/>
          </ac:cxnSpMkLst>
        </pc:cxnChg>
        <pc:cxnChg chg="mod ord">
          <ac:chgData name="Polanco Zanetta, Sebastian" userId="679afde1-f2ca-45a1-83ca-bc48414eb788" providerId="ADAL" clId="{B9C06509-25B1-47D3-980D-B34F6BE8753E}" dt="2025-04-28T21:12:31.136" v="17185"/>
          <ac:cxnSpMkLst>
            <pc:docMk/>
            <pc:sldMk cId="3588734151" sldId="4492"/>
            <ac:cxnSpMk id="10" creationId="{51A60A02-D179-99E9-7C14-483DD737EDF1}"/>
          </ac:cxnSpMkLst>
        </pc:cxnChg>
        <pc:cxnChg chg="mod ord">
          <ac:chgData name="Polanco Zanetta, Sebastian" userId="679afde1-f2ca-45a1-83ca-bc48414eb788" providerId="ADAL" clId="{B9C06509-25B1-47D3-980D-B34F6BE8753E}" dt="2025-04-28T21:12:31.136" v="17183"/>
          <ac:cxnSpMkLst>
            <pc:docMk/>
            <pc:sldMk cId="3588734151" sldId="4492"/>
            <ac:cxnSpMk id="11" creationId="{7B514076-6C32-89CA-38F7-5F6AE26E348F}"/>
          </ac:cxnSpMkLst>
        </pc:cxnChg>
        <pc:cxnChg chg="mod ord">
          <ac:chgData name="Polanco Zanetta, Sebastian" userId="679afde1-f2ca-45a1-83ca-bc48414eb788" providerId="ADAL" clId="{B9C06509-25B1-47D3-980D-B34F6BE8753E}" dt="2025-04-28T21:12:31.136" v="17212"/>
          <ac:cxnSpMkLst>
            <pc:docMk/>
            <pc:sldMk cId="3588734151" sldId="4492"/>
            <ac:cxnSpMk id="15" creationId="{19A9279C-F005-7E6C-4445-3B37E91A2F67}"/>
          </ac:cxnSpMkLst>
        </pc:cxnChg>
        <pc:cxnChg chg="mod ord">
          <ac:chgData name="Polanco Zanetta, Sebastian" userId="679afde1-f2ca-45a1-83ca-bc48414eb788" providerId="ADAL" clId="{B9C06509-25B1-47D3-980D-B34F6BE8753E}" dt="2025-04-28T21:12:31.136" v="17210"/>
          <ac:cxnSpMkLst>
            <pc:docMk/>
            <pc:sldMk cId="3588734151" sldId="4492"/>
            <ac:cxnSpMk id="16" creationId="{A97EF869-80A5-97B1-14D9-05CF82129913}"/>
          </ac:cxnSpMkLst>
        </pc:cxnChg>
        <pc:cxnChg chg="mod ord">
          <ac:chgData name="Polanco Zanetta, Sebastian" userId="679afde1-f2ca-45a1-83ca-bc48414eb788" providerId="ADAL" clId="{B9C06509-25B1-47D3-980D-B34F6BE8753E}" dt="2025-04-28T21:12:31.136" v="17208"/>
          <ac:cxnSpMkLst>
            <pc:docMk/>
            <pc:sldMk cId="3588734151" sldId="4492"/>
            <ac:cxnSpMk id="17" creationId="{21884691-9A81-ABA6-77EE-D4BBD3BA8F68}"/>
          </ac:cxnSpMkLst>
        </pc:cxnChg>
      </pc:sldChg>
      <pc:sldChg chg="addSp delSp modSp add mod">
        <pc:chgData name="Polanco Zanetta, Sebastian" userId="679afde1-f2ca-45a1-83ca-bc48414eb788" providerId="ADAL" clId="{B9C06509-25B1-47D3-980D-B34F6BE8753E}" dt="2025-05-02T17:54:19.456" v="34673"/>
        <pc:sldMkLst>
          <pc:docMk/>
          <pc:sldMk cId="3666714324" sldId="4493"/>
        </pc:sldMkLst>
        <pc:spChg chg="add mod">
          <ac:chgData name="Polanco Zanetta, Sebastian" userId="679afde1-f2ca-45a1-83ca-bc48414eb788" providerId="ADAL" clId="{B9C06509-25B1-47D3-980D-B34F6BE8753E}" dt="2025-05-02T17:54:19.456" v="34673"/>
          <ac:spMkLst>
            <pc:docMk/>
            <pc:sldMk cId="3666714324" sldId="4493"/>
            <ac:spMk id="2" creationId="{8AE940BB-3FEF-BFD8-979E-07D22E24EB3E}"/>
          </ac:spMkLst>
        </pc:spChg>
        <pc:spChg chg="add mod">
          <ac:chgData name="Polanco Zanetta, Sebastian" userId="679afde1-f2ca-45a1-83ca-bc48414eb788" providerId="ADAL" clId="{B9C06509-25B1-47D3-980D-B34F6BE8753E}" dt="2025-05-02T01:32:53.983" v="33782"/>
          <ac:spMkLst>
            <pc:docMk/>
            <pc:sldMk cId="3666714324" sldId="4493"/>
            <ac:spMk id="3" creationId="{1F5CE20F-11B9-2398-3D28-14CD11320932}"/>
          </ac:spMkLst>
        </pc:spChg>
        <pc:spChg chg="add mod">
          <ac:chgData name="Polanco Zanetta, Sebastian" userId="679afde1-f2ca-45a1-83ca-bc48414eb788" providerId="ADAL" clId="{B9C06509-25B1-47D3-980D-B34F6BE8753E}" dt="2025-04-23T18:52:04.538" v="10138"/>
          <ac:spMkLst>
            <pc:docMk/>
            <pc:sldMk cId="3666714324" sldId="4493"/>
            <ac:spMk id="9" creationId="{657B16E4-8394-50A6-E38B-1F59C86C0265}"/>
          </ac:spMkLst>
        </pc:spChg>
        <pc:spChg chg="add del mod ord">
          <ac:chgData name="Polanco Zanetta, Sebastian" userId="679afde1-f2ca-45a1-83ca-bc48414eb788" providerId="ADAL" clId="{B9C06509-25B1-47D3-980D-B34F6BE8753E}" dt="2025-04-23T18:52:04.537" v="10136"/>
          <ac:spMkLst>
            <pc:docMk/>
            <pc:sldMk cId="3666714324" sldId="4493"/>
            <ac:spMk id="10" creationId="{F8A607CD-39FC-95F3-2ED4-23945205F7BC}"/>
          </ac:spMkLst>
        </pc:spChg>
        <pc:spChg chg="add mod">
          <ac:chgData name="Polanco Zanetta, Sebastian" userId="679afde1-f2ca-45a1-83ca-bc48414eb788" providerId="ADAL" clId="{B9C06509-25B1-47D3-980D-B34F6BE8753E}" dt="2025-04-23T18:52:04.538" v="10139"/>
          <ac:spMkLst>
            <pc:docMk/>
            <pc:sldMk cId="3666714324" sldId="4493"/>
            <ac:spMk id="13" creationId="{6688CCDE-762B-1DE3-635E-316ED16AF00C}"/>
          </ac:spMkLst>
        </pc:spChg>
        <pc:spChg chg="add mod">
          <ac:chgData name="Polanco Zanetta, Sebastian" userId="679afde1-f2ca-45a1-83ca-bc48414eb788" providerId="ADAL" clId="{B9C06509-25B1-47D3-980D-B34F6BE8753E}" dt="2025-04-23T18:52:04.538" v="10140"/>
          <ac:spMkLst>
            <pc:docMk/>
            <pc:sldMk cId="3666714324" sldId="4493"/>
            <ac:spMk id="15" creationId="{32C9B2B5-D105-0243-35EE-84630186EDDC}"/>
          </ac:spMkLst>
        </pc:spChg>
        <pc:spChg chg="add mod ord">
          <ac:chgData name="Polanco Zanetta, Sebastian" userId="679afde1-f2ca-45a1-83ca-bc48414eb788" providerId="ADAL" clId="{B9C06509-25B1-47D3-980D-B34F6BE8753E}" dt="2025-04-23T18:52:04.540" v="10142"/>
          <ac:spMkLst>
            <pc:docMk/>
            <pc:sldMk cId="3666714324" sldId="4493"/>
            <ac:spMk id="23" creationId="{62FB5F46-45E3-1EB6-359E-E5619126CB3B}"/>
          </ac:spMkLst>
        </pc:spChg>
        <pc:spChg chg="add mod ord">
          <ac:chgData name="Polanco Zanetta, Sebastian" userId="679afde1-f2ca-45a1-83ca-bc48414eb788" providerId="ADAL" clId="{B9C06509-25B1-47D3-980D-B34F6BE8753E}" dt="2025-04-23T18:52:04.540" v="10144"/>
          <ac:spMkLst>
            <pc:docMk/>
            <pc:sldMk cId="3666714324" sldId="4493"/>
            <ac:spMk id="25" creationId="{C7BFE0A9-BA5D-4FAB-E1CF-3D2BB6AA656A}"/>
          </ac:spMkLst>
        </pc:spChg>
        <pc:spChg chg="add mod ord">
          <ac:chgData name="Polanco Zanetta, Sebastian" userId="679afde1-f2ca-45a1-83ca-bc48414eb788" providerId="ADAL" clId="{B9C06509-25B1-47D3-980D-B34F6BE8753E}" dt="2025-04-23T18:52:19.540" v="10158" actId="1076"/>
          <ac:spMkLst>
            <pc:docMk/>
            <pc:sldMk cId="3666714324" sldId="4493"/>
            <ac:spMk id="38" creationId="{75839018-1F4E-9B38-1F4E-7928DA094DC4}"/>
          </ac:spMkLst>
        </pc:spChg>
        <pc:spChg chg="add mod ord">
          <ac:chgData name="Polanco Zanetta, Sebastian" userId="679afde1-f2ca-45a1-83ca-bc48414eb788" providerId="ADAL" clId="{B9C06509-25B1-47D3-980D-B34F6BE8753E}" dt="2025-04-23T18:52:04.541" v="10150"/>
          <ac:spMkLst>
            <pc:docMk/>
            <pc:sldMk cId="3666714324" sldId="4493"/>
            <ac:spMk id="39" creationId="{5CA6B891-1149-5E6C-CA29-755E43FD701B}"/>
          </ac:spMkLst>
        </pc:spChg>
        <pc:graphicFrameChg chg="mod">
          <ac:chgData name="Polanco Zanetta, Sebastian" userId="679afde1-f2ca-45a1-83ca-bc48414eb788" providerId="ADAL" clId="{B9C06509-25B1-47D3-980D-B34F6BE8753E}" dt="2025-04-28T16:21:54.909" v="12312"/>
          <ac:graphicFrameMkLst>
            <pc:docMk/>
            <pc:sldMk cId="3666714324" sldId="4493"/>
            <ac:graphicFrameMk id="7" creationId="{5770465B-4A59-A739-AB37-B828F2B04507}"/>
          </ac:graphicFrameMkLst>
        </pc:graphicFrameChg>
        <pc:graphicFrameChg chg="add mod">
          <ac:chgData name="Polanco Zanetta, Sebastian" userId="679afde1-f2ca-45a1-83ca-bc48414eb788" providerId="ADAL" clId="{B9C06509-25B1-47D3-980D-B34F6BE8753E}" dt="2025-04-23T18:52:04.537" v="10137"/>
          <ac:graphicFrameMkLst>
            <pc:docMk/>
            <pc:sldMk cId="3666714324" sldId="4493"/>
            <ac:graphicFrameMk id="37" creationId="{0D2D49F0-2363-69CA-B426-A3F883A26536}"/>
          </ac:graphicFrameMkLst>
        </pc:graphicFrameChg>
      </pc:sldChg>
      <pc:sldChg chg="add del">
        <pc:chgData name="Polanco Zanetta, Sebastian" userId="679afde1-f2ca-45a1-83ca-bc48414eb788" providerId="ADAL" clId="{B9C06509-25B1-47D3-980D-B34F6BE8753E}" dt="2025-04-28T14:08:22.610" v="10694"/>
        <pc:sldMkLst>
          <pc:docMk/>
          <pc:sldMk cId="1653987637" sldId="4494"/>
        </pc:sldMkLst>
      </pc:sldChg>
      <pc:sldChg chg="addSp delSp modSp add mod">
        <pc:chgData name="Polanco Zanetta, Sebastian" userId="679afde1-f2ca-45a1-83ca-bc48414eb788" providerId="ADAL" clId="{B9C06509-25B1-47D3-980D-B34F6BE8753E}" dt="2025-05-02T17:57:55.745" v="34739" actId="1035"/>
        <pc:sldMkLst>
          <pc:docMk/>
          <pc:sldMk cId="1800967396" sldId="4494"/>
        </pc:sldMkLst>
        <pc:spChg chg="add mod">
          <ac:chgData name="Polanco Zanetta, Sebastian" userId="679afde1-f2ca-45a1-83ca-bc48414eb788" providerId="ADAL" clId="{B9C06509-25B1-47D3-980D-B34F6BE8753E}" dt="2025-05-02T01:34:23.553" v="33804" actId="108"/>
          <ac:spMkLst>
            <pc:docMk/>
            <pc:sldMk cId="1800967396" sldId="4494"/>
            <ac:spMk id="2" creationId="{052C5BF8-DCEE-FB6B-B3BE-10DA84334480}"/>
          </ac:spMkLst>
        </pc:spChg>
        <pc:spChg chg="add mod">
          <ac:chgData name="Polanco Zanetta, Sebastian" userId="679afde1-f2ca-45a1-83ca-bc48414eb788" providerId="ADAL" clId="{B9C06509-25B1-47D3-980D-B34F6BE8753E}" dt="2025-05-02T17:53:48.623" v="34659"/>
          <ac:spMkLst>
            <pc:docMk/>
            <pc:sldMk cId="1800967396" sldId="4494"/>
            <ac:spMk id="3" creationId="{D20EBD8F-9D39-7E7B-CABA-86AC8B391BBE}"/>
          </ac:spMkLst>
        </pc:spChg>
        <pc:spChg chg="mod">
          <ac:chgData name="Polanco Zanetta, Sebastian" userId="679afde1-f2ca-45a1-83ca-bc48414eb788" providerId="ADAL" clId="{B9C06509-25B1-47D3-980D-B34F6BE8753E}" dt="2025-05-02T17:57:39.439" v="34712" actId="14100"/>
          <ac:spMkLst>
            <pc:docMk/>
            <pc:sldMk cId="1800967396" sldId="4494"/>
            <ac:spMk id="6" creationId="{5CC4EBB0-69BE-3BED-F9CA-DE9B58A2281D}"/>
          </ac:spMkLst>
        </pc:spChg>
        <pc:spChg chg="mod">
          <ac:chgData name="Polanco Zanetta, Sebastian" userId="679afde1-f2ca-45a1-83ca-bc48414eb788" providerId="ADAL" clId="{B9C06509-25B1-47D3-980D-B34F6BE8753E}" dt="2025-04-28T15:39:17.972" v="12060"/>
          <ac:spMkLst>
            <pc:docMk/>
            <pc:sldMk cId="1800967396" sldId="4494"/>
            <ac:spMk id="7" creationId="{C209D468-DC7D-DD95-829E-E19BFB7BD496}"/>
          </ac:spMkLst>
        </pc:spChg>
        <pc:spChg chg="add mod ord">
          <ac:chgData name="Polanco Zanetta, Sebastian" userId="679afde1-f2ca-45a1-83ca-bc48414eb788" providerId="ADAL" clId="{B9C06509-25B1-47D3-980D-B34F6BE8753E}" dt="2025-04-28T15:52:06.478" v="12224" actId="14100"/>
          <ac:spMkLst>
            <pc:docMk/>
            <pc:sldMk cId="1800967396" sldId="4494"/>
            <ac:spMk id="9" creationId="{118C7DE3-7EDC-6BE0-5DBD-4AD9FB5E7798}"/>
          </ac:spMkLst>
        </pc:spChg>
        <pc:spChg chg="mod">
          <ac:chgData name="Polanco Zanetta, Sebastian" userId="679afde1-f2ca-45a1-83ca-bc48414eb788" providerId="ADAL" clId="{B9C06509-25B1-47D3-980D-B34F6BE8753E}" dt="2025-05-02T17:57:32.294" v="34710" actId="14100"/>
          <ac:spMkLst>
            <pc:docMk/>
            <pc:sldMk cId="1800967396" sldId="4494"/>
            <ac:spMk id="22" creationId="{54D959A2-8656-6689-6B46-A6693EDDD304}"/>
          </ac:spMkLst>
        </pc:spChg>
        <pc:spChg chg="mod">
          <ac:chgData name="Polanco Zanetta, Sebastian" userId="679afde1-f2ca-45a1-83ca-bc48414eb788" providerId="ADAL" clId="{B9C06509-25B1-47D3-980D-B34F6BE8753E}" dt="2025-04-28T15:39:35.619" v="12064"/>
          <ac:spMkLst>
            <pc:docMk/>
            <pc:sldMk cId="1800967396" sldId="4494"/>
            <ac:spMk id="23" creationId="{11779A6D-C527-3206-C8D5-7AC873714918}"/>
          </ac:spMkLst>
        </pc:spChg>
        <pc:spChg chg="mod">
          <ac:chgData name="Polanco Zanetta, Sebastian" userId="679afde1-f2ca-45a1-83ca-bc48414eb788" providerId="ADAL" clId="{B9C06509-25B1-47D3-980D-B34F6BE8753E}" dt="2025-05-02T17:57:30.674" v="34709" actId="14100"/>
          <ac:spMkLst>
            <pc:docMk/>
            <pc:sldMk cId="1800967396" sldId="4494"/>
            <ac:spMk id="25" creationId="{149EFCCE-9E53-FCCB-20DB-97EC20B813FA}"/>
          </ac:spMkLst>
        </pc:spChg>
        <pc:spChg chg="mod">
          <ac:chgData name="Polanco Zanetta, Sebastian" userId="679afde1-f2ca-45a1-83ca-bc48414eb788" providerId="ADAL" clId="{B9C06509-25B1-47D3-980D-B34F6BE8753E}" dt="2025-04-28T15:54:33.937" v="12272" actId="1036"/>
          <ac:spMkLst>
            <pc:docMk/>
            <pc:sldMk cId="1800967396" sldId="4494"/>
            <ac:spMk id="26" creationId="{9EAD071E-7D20-8767-16F3-FF8C9D0851D2}"/>
          </ac:spMkLst>
        </pc:spChg>
        <pc:grpChg chg="add mod ord">
          <ac:chgData name="Polanco Zanetta, Sebastian" userId="679afde1-f2ca-45a1-83ca-bc48414eb788" providerId="ADAL" clId="{B9C06509-25B1-47D3-980D-B34F6BE8753E}" dt="2025-05-02T17:57:36.006" v="34711" actId="14100"/>
          <ac:grpSpMkLst>
            <pc:docMk/>
            <pc:sldMk cId="1800967396" sldId="4494"/>
            <ac:grpSpMk id="5" creationId="{09D703F7-39A1-2A61-9B32-22F79A933AF0}"/>
          </ac:grpSpMkLst>
        </pc:grpChg>
        <pc:grpChg chg="add del mod ord">
          <ac:chgData name="Polanco Zanetta, Sebastian" userId="679afde1-f2ca-45a1-83ca-bc48414eb788" providerId="ADAL" clId="{B9C06509-25B1-47D3-980D-B34F6BE8753E}" dt="2025-05-02T17:57:55.745" v="34739" actId="1035"/>
          <ac:grpSpMkLst>
            <pc:docMk/>
            <pc:sldMk cId="1800967396" sldId="4494"/>
            <ac:grpSpMk id="21" creationId="{AFEB8D57-903F-3212-C886-CDCEF5835EEC}"/>
          </ac:grpSpMkLst>
        </pc:grpChg>
        <pc:grpChg chg="add del mod ord">
          <ac:chgData name="Polanco Zanetta, Sebastian" userId="679afde1-f2ca-45a1-83ca-bc48414eb788" providerId="ADAL" clId="{B9C06509-25B1-47D3-980D-B34F6BE8753E}" dt="2025-05-02T17:57:55.745" v="34739" actId="1035"/>
          <ac:grpSpMkLst>
            <pc:docMk/>
            <pc:sldMk cId="1800967396" sldId="4494"/>
            <ac:grpSpMk id="24" creationId="{B393389E-CB52-67A2-D4A2-9D055634D2B5}"/>
          </ac:grpSpMkLst>
        </pc:grpChg>
        <pc:graphicFrameChg chg="mod">
          <ac:chgData name="Polanco Zanetta, Sebastian" userId="679afde1-f2ca-45a1-83ca-bc48414eb788" providerId="ADAL" clId="{B9C06509-25B1-47D3-980D-B34F6BE8753E}" dt="2025-04-28T15:51:38.440" v="12216"/>
          <ac:graphicFrameMkLst>
            <pc:docMk/>
            <pc:sldMk cId="1800967396" sldId="4494"/>
            <ac:graphicFrameMk id="15" creationId="{F7C95EF7-D33D-4460-BB74-8AE2BDCA7061}"/>
          </ac:graphicFrameMkLst>
        </pc:graphicFrameChg>
      </pc:sldChg>
      <pc:sldChg chg="add del">
        <pc:chgData name="Polanco Zanetta, Sebastian" userId="679afde1-f2ca-45a1-83ca-bc48414eb788" providerId="ADAL" clId="{B9C06509-25B1-47D3-980D-B34F6BE8753E}" dt="2025-04-28T14:09:09.589" v="10877"/>
        <pc:sldMkLst>
          <pc:docMk/>
          <pc:sldMk cId="1833553341" sldId="4494"/>
        </pc:sldMkLst>
      </pc:sldChg>
      <pc:sldChg chg="add del">
        <pc:chgData name="Polanco Zanetta, Sebastian" userId="679afde1-f2ca-45a1-83ca-bc48414eb788" providerId="ADAL" clId="{B9C06509-25B1-47D3-980D-B34F6BE8753E}" dt="2025-04-28T13:55:24.862" v="10344"/>
        <pc:sldMkLst>
          <pc:docMk/>
          <pc:sldMk cId="1878236006" sldId="4494"/>
        </pc:sldMkLst>
      </pc:sldChg>
      <pc:sldChg chg="addSp delSp modSp add mod">
        <pc:chgData name="Polanco Zanetta, Sebastian" userId="679afde1-f2ca-45a1-83ca-bc48414eb788" providerId="ADAL" clId="{B9C06509-25B1-47D3-980D-B34F6BE8753E}" dt="2025-05-02T17:54:22.797" v="34675"/>
        <pc:sldMkLst>
          <pc:docMk/>
          <pc:sldMk cId="55702016" sldId="4495"/>
        </pc:sldMkLst>
        <pc:spChg chg="add mod">
          <ac:chgData name="Polanco Zanetta, Sebastian" userId="679afde1-f2ca-45a1-83ca-bc48414eb788" providerId="ADAL" clId="{B9C06509-25B1-47D3-980D-B34F6BE8753E}" dt="2025-05-02T01:33:16.619" v="33789"/>
          <ac:spMkLst>
            <pc:docMk/>
            <pc:sldMk cId="55702016" sldId="4495"/>
            <ac:spMk id="2" creationId="{3A7EFEBB-7FB7-C3E8-9209-0A20864DE99F}"/>
          </ac:spMkLst>
        </pc:spChg>
        <pc:spChg chg="add mod">
          <ac:chgData name="Polanco Zanetta, Sebastian" userId="679afde1-f2ca-45a1-83ca-bc48414eb788" providerId="ADAL" clId="{B9C06509-25B1-47D3-980D-B34F6BE8753E}" dt="2025-05-02T17:54:22.797" v="34675"/>
          <ac:spMkLst>
            <pc:docMk/>
            <pc:sldMk cId="55702016" sldId="4495"/>
            <ac:spMk id="3" creationId="{AE385DFE-01EB-2AA5-1478-32C7930839CD}"/>
          </ac:spMkLst>
        </pc:spChg>
        <pc:spChg chg="mod">
          <ac:chgData name="Polanco Zanetta, Sebastian" userId="679afde1-f2ca-45a1-83ca-bc48414eb788" providerId="ADAL" clId="{B9C06509-25B1-47D3-980D-B34F6BE8753E}" dt="2025-04-30T04:49:14.743" v="33486"/>
          <ac:spMkLst>
            <pc:docMk/>
            <pc:sldMk cId="55702016" sldId="4495"/>
            <ac:spMk id="20" creationId="{BF34563F-5AD5-1187-C47E-6CA2B70B5C3E}"/>
          </ac:spMkLst>
        </pc:spChg>
        <pc:spChg chg="mod">
          <ac:chgData name="Polanco Zanetta, Sebastian" userId="679afde1-f2ca-45a1-83ca-bc48414eb788" providerId="ADAL" clId="{B9C06509-25B1-47D3-980D-B34F6BE8753E}" dt="2025-04-30T04:49:00.560" v="33484"/>
          <ac:spMkLst>
            <pc:docMk/>
            <pc:sldMk cId="55702016" sldId="4495"/>
            <ac:spMk id="22" creationId="{AE9334BA-00B5-A732-A019-0C506D25302D}"/>
          </ac:spMkLst>
        </pc:spChg>
        <pc:spChg chg="mod">
          <ac:chgData name="Polanco Zanetta, Sebastian" userId="679afde1-f2ca-45a1-83ca-bc48414eb788" providerId="ADAL" clId="{B9C06509-25B1-47D3-980D-B34F6BE8753E}" dt="2025-04-30T04:49:06.723" v="33485"/>
          <ac:spMkLst>
            <pc:docMk/>
            <pc:sldMk cId="55702016" sldId="4495"/>
            <ac:spMk id="29" creationId="{3FA406D3-E623-7A56-F8CE-AF7B79BAE6AF}"/>
          </ac:spMkLst>
        </pc:spChg>
        <pc:spChg chg="mod">
          <ac:chgData name="Polanco Zanetta, Sebastian" userId="679afde1-f2ca-45a1-83ca-bc48414eb788" providerId="ADAL" clId="{B9C06509-25B1-47D3-980D-B34F6BE8753E}" dt="2025-04-30T04:48:53.727" v="33483"/>
          <ac:spMkLst>
            <pc:docMk/>
            <pc:sldMk cId="55702016" sldId="4495"/>
            <ac:spMk id="30" creationId="{C2B5F1BB-EED3-4AA1-15F2-03D78E70B5CC}"/>
          </ac:spMkLst>
        </pc:spChg>
      </pc:sldChg>
    </pc:docChg>
  </pc:docChgLst>
  <pc:docChgLst>
    <pc:chgData name="Polanco Zanetta, Sebastian" userId="679afde1-f2ca-45a1-83ca-bc48414eb788" providerId="ADAL" clId="{7F2DE69D-8C9F-4CB1-8222-8CA7389F170C}"/>
    <pc:docChg chg="undo redo custSel modSld modMainMaster">
      <pc:chgData name="Polanco Zanetta, Sebastian" userId="679afde1-f2ca-45a1-83ca-bc48414eb788" providerId="ADAL" clId="{7F2DE69D-8C9F-4CB1-8222-8CA7389F170C}" dt="2025-05-09T01:43:38.415" v="18106" actId="20577"/>
      <pc:docMkLst>
        <pc:docMk/>
      </pc:docMkLst>
      <pc:sldChg chg="modSp mod">
        <pc:chgData name="Polanco Zanetta, Sebastian" userId="679afde1-f2ca-45a1-83ca-bc48414eb788" providerId="ADAL" clId="{7F2DE69D-8C9F-4CB1-8222-8CA7389F170C}" dt="2025-05-07T04:13:07.846" v="17235" actId="20577"/>
        <pc:sldMkLst>
          <pc:docMk/>
          <pc:sldMk cId="1552440686" sldId="4436"/>
        </pc:sldMkLst>
        <pc:spChg chg="mod">
          <ac:chgData name="Polanco Zanetta, Sebastian" userId="679afde1-f2ca-45a1-83ca-bc48414eb788" providerId="ADAL" clId="{7F2DE69D-8C9F-4CB1-8222-8CA7389F170C}" dt="2025-05-02T20:05:34.621" v="408" actId="20577"/>
          <ac:spMkLst>
            <pc:docMk/>
            <pc:sldMk cId="1552440686" sldId="4436"/>
            <ac:spMk id="4" creationId="{377446BB-0992-0053-95CE-C8EC25995C8A}"/>
          </ac:spMkLst>
        </pc:spChg>
        <pc:spChg chg="mod">
          <ac:chgData name="Polanco Zanetta, Sebastian" userId="679afde1-f2ca-45a1-83ca-bc48414eb788" providerId="ADAL" clId="{7F2DE69D-8C9F-4CB1-8222-8CA7389F170C}" dt="2025-05-07T04:13:07.846" v="17235" actId="20577"/>
          <ac:spMkLst>
            <pc:docMk/>
            <pc:sldMk cId="1552440686" sldId="4436"/>
            <ac:spMk id="5" creationId="{8007E814-EC70-5F9C-19F1-673BE30861E3}"/>
          </ac:spMkLst>
        </pc:spChg>
      </pc:sldChg>
      <pc:sldChg chg="addSp delSp modSp mod">
        <pc:chgData name="Polanco Zanetta, Sebastian" userId="679afde1-f2ca-45a1-83ca-bc48414eb788" providerId="ADAL" clId="{7F2DE69D-8C9F-4CB1-8222-8CA7389F170C}" dt="2025-05-07T20:54:42.342" v="18021" actId="20577"/>
        <pc:sldMkLst>
          <pc:docMk/>
          <pc:sldMk cId="2402795078" sldId="4456"/>
        </pc:sldMkLst>
        <pc:spChg chg="mod">
          <ac:chgData name="Polanco Zanetta, Sebastian" userId="679afde1-f2ca-45a1-83ca-bc48414eb788" providerId="ADAL" clId="{7F2DE69D-8C9F-4CB1-8222-8CA7389F170C}" dt="2025-05-02T21:09:37.566" v="13457"/>
          <ac:spMkLst>
            <pc:docMk/>
            <pc:sldMk cId="2402795078" sldId="4456"/>
            <ac:spMk id="2" creationId="{0FB8914C-FA11-CE71-3D4B-DB0481763BB2}"/>
          </ac:spMkLst>
        </pc:spChg>
        <pc:spChg chg="add mod">
          <ac:chgData name="Polanco Zanetta, Sebastian" userId="679afde1-f2ca-45a1-83ca-bc48414eb788" providerId="ADAL" clId="{7F2DE69D-8C9F-4CB1-8222-8CA7389F170C}" dt="2025-05-07T16:57:25.740" v="17927"/>
          <ac:spMkLst>
            <pc:docMk/>
            <pc:sldMk cId="2402795078" sldId="4456"/>
            <ac:spMk id="6" creationId="{24CB5439-ABFB-0307-3A86-6071B8F5233C}"/>
          </ac:spMkLst>
        </pc:spChg>
        <pc:spChg chg="mod">
          <ac:chgData name="Polanco Zanetta, Sebastian" userId="679afde1-f2ca-45a1-83ca-bc48414eb788" providerId="ADAL" clId="{7F2DE69D-8C9F-4CB1-8222-8CA7389F170C}" dt="2025-05-07T04:18:10.080" v="17450" actId="20577"/>
          <ac:spMkLst>
            <pc:docMk/>
            <pc:sldMk cId="2402795078" sldId="4456"/>
            <ac:spMk id="41" creationId="{23AA03E7-73A1-8E58-D563-FB6EB5C2D097}"/>
          </ac:spMkLst>
        </pc:spChg>
        <pc:spChg chg="mod">
          <ac:chgData name="Polanco Zanetta, Sebastian" userId="679afde1-f2ca-45a1-83ca-bc48414eb788" providerId="ADAL" clId="{7F2DE69D-8C9F-4CB1-8222-8CA7389F170C}" dt="2025-05-02T20:14:06.018" v="440"/>
          <ac:spMkLst>
            <pc:docMk/>
            <pc:sldMk cId="2402795078" sldId="4456"/>
            <ac:spMk id="42" creationId="{CD58B6AB-7C4F-757F-3F5D-50DF89E2ACFD}"/>
          </ac:spMkLst>
        </pc:spChg>
        <pc:spChg chg="mod">
          <ac:chgData name="Polanco Zanetta, Sebastian" userId="679afde1-f2ca-45a1-83ca-bc48414eb788" providerId="ADAL" clId="{7F2DE69D-8C9F-4CB1-8222-8CA7389F170C}" dt="2025-05-07T20:54:42.342" v="18021" actId="20577"/>
          <ac:spMkLst>
            <pc:docMk/>
            <pc:sldMk cId="2402795078" sldId="4456"/>
            <ac:spMk id="44" creationId="{71D217CB-DB8D-9399-7DF9-8B36928AEFB0}"/>
          </ac:spMkLst>
        </pc:spChg>
        <pc:spChg chg="mod">
          <ac:chgData name="Polanco Zanetta, Sebastian" userId="679afde1-f2ca-45a1-83ca-bc48414eb788" providerId="ADAL" clId="{7F2DE69D-8C9F-4CB1-8222-8CA7389F170C}" dt="2025-05-07T04:18:25.277" v="17466" actId="20577"/>
          <ac:spMkLst>
            <pc:docMk/>
            <pc:sldMk cId="2402795078" sldId="4456"/>
            <ac:spMk id="45" creationId="{B07D07D6-3960-1D91-2299-782F6A39C381}"/>
          </ac:spMkLst>
        </pc:spChg>
        <pc:spChg chg="mod">
          <ac:chgData name="Polanco Zanetta, Sebastian" userId="679afde1-f2ca-45a1-83ca-bc48414eb788" providerId="ADAL" clId="{7F2DE69D-8C9F-4CB1-8222-8CA7389F170C}" dt="2025-05-06T19:03:30.554" v="17140" actId="20577"/>
          <ac:spMkLst>
            <pc:docMk/>
            <pc:sldMk cId="2402795078" sldId="4456"/>
            <ac:spMk id="47" creationId="{91B3670C-8613-1F50-1A26-C6174C7ABA37}"/>
          </ac:spMkLst>
        </pc:spChg>
        <pc:spChg chg="mod">
          <ac:chgData name="Polanco Zanetta, Sebastian" userId="679afde1-f2ca-45a1-83ca-bc48414eb788" providerId="ADAL" clId="{7F2DE69D-8C9F-4CB1-8222-8CA7389F170C}" dt="2025-05-02T20:17:09.925" v="480"/>
          <ac:spMkLst>
            <pc:docMk/>
            <pc:sldMk cId="2402795078" sldId="4456"/>
            <ac:spMk id="48" creationId="{47954828-2713-37DA-5328-C33F66FDDE3F}"/>
          </ac:spMkLst>
        </pc:spChg>
        <pc:grpChg chg="mod">
          <ac:chgData name="Polanco Zanetta, Sebastian" userId="679afde1-f2ca-45a1-83ca-bc48414eb788" providerId="ADAL" clId="{7F2DE69D-8C9F-4CB1-8222-8CA7389F170C}" dt="2025-05-03T00:43:24.086" v="17104" actId="1076"/>
          <ac:grpSpMkLst>
            <pc:docMk/>
            <pc:sldMk cId="2402795078" sldId="4456"/>
            <ac:grpSpMk id="43" creationId="{DF4BFE7D-B5A0-86D6-9C23-12300FC8F0E6}"/>
          </ac:grpSpMkLst>
        </pc:grpChg>
        <pc:grpChg chg="mod">
          <ac:chgData name="Polanco Zanetta, Sebastian" userId="679afde1-f2ca-45a1-83ca-bc48414eb788" providerId="ADAL" clId="{7F2DE69D-8C9F-4CB1-8222-8CA7389F170C}" dt="2025-05-07T20:54:31.012" v="18020" actId="1035"/>
          <ac:grpSpMkLst>
            <pc:docMk/>
            <pc:sldMk cId="2402795078" sldId="4456"/>
            <ac:grpSpMk id="46" creationId="{B66740DC-AA28-CE78-5422-ACAFE585C4F8}"/>
          </ac:grpSpMkLst>
        </pc:grpChg>
      </pc:sldChg>
      <pc:sldChg chg="addSp delSp modSp mod">
        <pc:chgData name="Polanco Zanetta, Sebastian" userId="679afde1-f2ca-45a1-83ca-bc48414eb788" providerId="ADAL" clId="{7F2DE69D-8C9F-4CB1-8222-8CA7389F170C}" dt="2025-05-07T16:56:15.364" v="17907"/>
        <pc:sldMkLst>
          <pc:docMk/>
          <pc:sldMk cId="2309134026" sldId="4457"/>
        </pc:sldMkLst>
        <pc:spChg chg="mod">
          <ac:chgData name="Polanco Zanetta, Sebastian" userId="679afde1-f2ca-45a1-83ca-bc48414eb788" providerId="ADAL" clId="{7F2DE69D-8C9F-4CB1-8222-8CA7389F170C}" dt="2025-05-02T21:16:36.762" v="15614"/>
          <ac:spMkLst>
            <pc:docMk/>
            <pc:sldMk cId="2309134026" sldId="4457"/>
            <ac:spMk id="2" creationId="{AD2024DD-5059-3981-81C8-78436725D49E}"/>
          </ac:spMkLst>
        </pc:spChg>
        <pc:spChg chg="add mod">
          <ac:chgData name="Polanco Zanetta, Sebastian" userId="679afde1-f2ca-45a1-83ca-bc48414eb788" providerId="ADAL" clId="{7F2DE69D-8C9F-4CB1-8222-8CA7389F170C}" dt="2025-05-07T16:56:15.364" v="17907"/>
          <ac:spMkLst>
            <pc:docMk/>
            <pc:sldMk cId="2309134026" sldId="4457"/>
            <ac:spMk id="4" creationId="{26962C5D-763F-51F6-F12D-88D82C3DF259}"/>
          </ac:spMkLst>
        </pc:spChg>
        <pc:spChg chg="mod">
          <ac:chgData name="Polanco Zanetta, Sebastian" userId="679afde1-f2ca-45a1-83ca-bc48414eb788" providerId="ADAL" clId="{7F2DE69D-8C9F-4CB1-8222-8CA7389F170C}" dt="2025-05-07T04:16:20.817" v="17380" actId="20577"/>
          <ac:spMkLst>
            <pc:docMk/>
            <pc:sldMk cId="2309134026" sldId="4457"/>
            <ac:spMk id="43" creationId="{87716F67-2A3B-4C4B-3713-11C442A4E3F6}"/>
          </ac:spMkLst>
        </pc:spChg>
        <pc:spChg chg="mod">
          <ac:chgData name="Polanco Zanetta, Sebastian" userId="679afde1-f2ca-45a1-83ca-bc48414eb788" providerId="ADAL" clId="{7F2DE69D-8C9F-4CB1-8222-8CA7389F170C}" dt="2025-05-02T20:12:17.665" v="434"/>
          <ac:spMkLst>
            <pc:docMk/>
            <pc:sldMk cId="2309134026" sldId="4457"/>
            <ac:spMk id="44" creationId="{97AF2B59-C86F-7439-3C44-F20432C0C11B}"/>
          </ac:spMkLst>
        </pc:spChg>
        <pc:spChg chg="mod">
          <ac:chgData name="Polanco Zanetta, Sebastian" userId="679afde1-f2ca-45a1-83ca-bc48414eb788" providerId="ADAL" clId="{7F2DE69D-8C9F-4CB1-8222-8CA7389F170C}" dt="2025-05-02T20:13:26.879" v="438"/>
          <ac:spMkLst>
            <pc:docMk/>
            <pc:sldMk cId="2309134026" sldId="4457"/>
            <ac:spMk id="46" creationId="{6CF2148B-1245-E063-CBD3-279477D30C4D}"/>
          </ac:spMkLst>
        </pc:spChg>
        <pc:spChg chg="mod">
          <ac:chgData name="Polanco Zanetta, Sebastian" userId="679afde1-f2ca-45a1-83ca-bc48414eb788" providerId="ADAL" clId="{7F2DE69D-8C9F-4CB1-8222-8CA7389F170C}" dt="2025-05-07T04:17:49.687" v="17432" actId="20577"/>
          <ac:spMkLst>
            <pc:docMk/>
            <pc:sldMk cId="2309134026" sldId="4457"/>
            <ac:spMk id="47" creationId="{6FC4168F-0FE8-6BF4-D308-2C115049FF3D}"/>
          </ac:spMkLst>
        </pc:spChg>
        <pc:grpChg chg="mod">
          <ac:chgData name="Polanco Zanetta, Sebastian" userId="679afde1-f2ca-45a1-83ca-bc48414eb788" providerId="ADAL" clId="{7F2DE69D-8C9F-4CB1-8222-8CA7389F170C}" dt="2025-05-02T20:12:33.203" v="437" actId="20578"/>
          <ac:grpSpMkLst>
            <pc:docMk/>
            <pc:sldMk cId="2309134026" sldId="4457"/>
            <ac:grpSpMk id="45" creationId="{B7D84BCA-921B-6634-F751-C10140BB5490}"/>
          </ac:grpSpMkLst>
        </pc:grpChg>
      </pc:sldChg>
      <pc:sldChg chg="addSp delSp modSp mod">
        <pc:chgData name="Polanco Zanetta, Sebastian" userId="679afde1-f2ca-45a1-83ca-bc48414eb788" providerId="ADAL" clId="{7F2DE69D-8C9F-4CB1-8222-8CA7389F170C}" dt="2025-05-08T04:57:17.832" v="18027" actId="20577"/>
        <pc:sldMkLst>
          <pc:docMk/>
          <pc:sldMk cId="1629867990" sldId="4461"/>
        </pc:sldMkLst>
        <pc:spChg chg="add mod">
          <ac:chgData name="Polanco Zanetta, Sebastian" userId="679afde1-f2ca-45a1-83ca-bc48414eb788" providerId="ADAL" clId="{7F2DE69D-8C9F-4CB1-8222-8CA7389F170C}" dt="2025-05-07T04:30:15.856" v="17864"/>
          <ac:spMkLst>
            <pc:docMk/>
            <pc:sldMk cId="1629867990" sldId="4461"/>
            <ac:spMk id="2" creationId="{621E7C46-D50F-C125-0E56-B3E90061738D}"/>
          </ac:spMkLst>
        </pc:spChg>
        <pc:spChg chg="add mod">
          <ac:chgData name="Polanco Zanetta, Sebastian" userId="679afde1-f2ca-45a1-83ca-bc48414eb788" providerId="ADAL" clId="{7F2DE69D-8C9F-4CB1-8222-8CA7389F170C}" dt="2025-05-07T16:56:28.162" v="17912"/>
          <ac:spMkLst>
            <pc:docMk/>
            <pc:sldMk cId="1629867990" sldId="4461"/>
            <ac:spMk id="3" creationId="{6FE565FD-0B70-41F8-8DAF-BC3E35467563}"/>
          </ac:spMkLst>
        </pc:spChg>
        <pc:spChg chg="mod ord">
          <ac:chgData name="Polanco Zanetta, Sebastian" userId="679afde1-f2ca-45a1-83ca-bc48414eb788" providerId="ADAL" clId="{7F2DE69D-8C9F-4CB1-8222-8CA7389F170C}" dt="2025-05-02T21:12:26.311" v="15611"/>
          <ac:spMkLst>
            <pc:docMk/>
            <pc:sldMk cId="1629867990" sldId="4461"/>
            <ac:spMk id="5" creationId="{A3FE7B05-BF85-D086-F95C-EF0D547E382E}"/>
          </ac:spMkLst>
        </pc:spChg>
        <pc:spChg chg="mod">
          <ac:chgData name="Polanco Zanetta, Sebastian" userId="679afde1-f2ca-45a1-83ca-bc48414eb788" providerId="ADAL" clId="{7F2DE69D-8C9F-4CB1-8222-8CA7389F170C}" dt="2025-05-02T21:12:26.295" v="15565"/>
          <ac:spMkLst>
            <pc:docMk/>
            <pc:sldMk cId="1629867990" sldId="4461"/>
            <ac:spMk id="20" creationId="{7D5EF66B-93DF-E502-8418-CB1EC80C69D2}"/>
          </ac:spMkLst>
        </pc:spChg>
        <pc:spChg chg="mod">
          <ac:chgData name="Polanco Zanetta, Sebastian" userId="679afde1-f2ca-45a1-83ca-bc48414eb788" providerId="ADAL" clId="{7F2DE69D-8C9F-4CB1-8222-8CA7389F170C}" dt="2025-05-02T21:12:26.311" v="15566"/>
          <ac:spMkLst>
            <pc:docMk/>
            <pc:sldMk cId="1629867990" sldId="4461"/>
            <ac:spMk id="21" creationId="{0EEE33E7-3F2A-5D66-4499-87E7735DAFBC}"/>
          </ac:spMkLst>
        </pc:spChg>
        <pc:spChg chg="mod">
          <ac:chgData name="Polanco Zanetta, Sebastian" userId="679afde1-f2ca-45a1-83ca-bc48414eb788" providerId="ADAL" clId="{7F2DE69D-8C9F-4CB1-8222-8CA7389F170C}" dt="2025-05-02T21:12:26.311" v="15567"/>
          <ac:spMkLst>
            <pc:docMk/>
            <pc:sldMk cId="1629867990" sldId="4461"/>
            <ac:spMk id="22" creationId="{8B5D967E-A7D3-B9B3-2730-C280C806FFB3}"/>
          </ac:spMkLst>
        </pc:spChg>
        <pc:spChg chg="mod">
          <ac:chgData name="Polanco Zanetta, Sebastian" userId="679afde1-f2ca-45a1-83ca-bc48414eb788" providerId="ADAL" clId="{7F2DE69D-8C9F-4CB1-8222-8CA7389F170C}" dt="2025-05-02T21:12:26.311" v="15568"/>
          <ac:spMkLst>
            <pc:docMk/>
            <pc:sldMk cId="1629867990" sldId="4461"/>
            <ac:spMk id="23" creationId="{81BAE109-84B6-40AA-FE99-7E18A123D945}"/>
          </ac:spMkLst>
        </pc:spChg>
        <pc:spChg chg="mod ord">
          <ac:chgData name="Polanco Zanetta, Sebastian" userId="679afde1-f2ca-45a1-83ca-bc48414eb788" providerId="ADAL" clId="{7F2DE69D-8C9F-4CB1-8222-8CA7389F170C}" dt="2025-05-02T21:12:26.311" v="15570"/>
          <ac:spMkLst>
            <pc:docMk/>
            <pc:sldMk cId="1629867990" sldId="4461"/>
            <ac:spMk id="24" creationId="{A3471FF0-149B-3A93-8F76-94A6E4A6EDB8}"/>
          </ac:spMkLst>
        </pc:spChg>
        <pc:spChg chg="mod ord">
          <ac:chgData name="Polanco Zanetta, Sebastian" userId="679afde1-f2ca-45a1-83ca-bc48414eb788" providerId="ADAL" clId="{7F2DE69D-8C9F-4CB1-8222-8CA7389F170C}" dt="2025-05-02T21:12:26.311" v="15572"/>
          <ac:spMkLst>
            <pc:docMk/>
            <pc:sldMk cId="1629867990" sldId="4461"/>
            <ac:spMk id="25" creationId="{088EACFB-722C-D3C6-5EA2-874A7C88F63C}"/>
          </ac:spMkLst>
        </pc:spChg>
        <pc:spChg chg="mod ord">
          <ac:chgData name="Polanco Zanetta, Sebastian" userId="679afde1-f2ca-45a1-83ca-bc48414eb788" providerId="ADAL" clId="{7F2DE69D-8C9F-4CB1-8222-8CA7389F170C}" dt="2025-05-02T21:12:26.311" v="15574"/>
          <ac:spMkLst>
            <pc:docMk/>
            <pc:sldMk cId="1629867990" sldId="4461"/>
            <ac:spMk id="26" creationId="{03EEED99-06C4-A229-CED8-BF115C60ACFF}"/>
          </ac:spMkLst>
        </pc:spChg>
        <pc:spChg chg="mod ord">
          <ac:chgData name="Polanco Zanetta, Sebastian" userId="679afde1-f2ca-45a1-83ca-bc48414eb788" providerId="ADAL" clId="{7F2DE69D-8C9F-4CB1-8222-8CA7389F170C}" dt="2025-05-02T21:12:26.311" v="15576"/>
          <ac:spMkLst>
            <pc:docMk/>
            <pc:sldMk cId="1629867990" sldId="4461"/>
            <ac:spMk id="27" creationId="{8BE189BD-1FB7-3A83-3E35-51A5B578FCEF}"/>
          </ac:spMkLst>
        </pc:spChg>
        <pc:spChg chg="mod">
          <ac:chgData name="Polanco Zanetta, Sebastian" userId="679afde1-f2ca-45a1-83ca-bc48414eb788" providerId="ADAL" clId="{7F2DE69D-8C9F-4CB1-8222-8CA7389F170C}" dt="2025-05-02T21:12:26.311" v="15590"/>
          <ac:spMkLst>
            <pc:docMk/>
            <pc:sldMk cId="1629867990" sldId="4461"/>
            <ac:spMk id="49" creationId="{9350945F-A97A-6BA3-B652-A4F84192C2BC}"/>
          </ac:spMkLst>
        </pc:spChg>
        <pc:spChg chg="mod">
          <ac:chgData name="Polanco Zanetta, Sebastian" userId="679afde1-f2ca-45a1-83ca-bc48414eb788" providerId="ADAL" clId="{7F2DE69D-8C9F-4CB1-8222-8CA7389F170C}" dt="2025-05-02T21:12:26.311" v="15591"/>
          <ac:spMkLst>
            <pc:docMk/>
            <pc:sldMk cId="1629867990" sldId="4461"/>
            <ac:spMk id="50" creationId="{9BE30D35-C925-1024-D51B-C07404BD9124}"/>
          </ac:spMkLst>
        </pc:spChg>
        <pc:spChg chg="mod">
          <ac:chgData name="Polanco Zanetta, Sebastian" userId="679afde1-f2ca-45a1-83ca-bc48414eb788" providerId="ADAL" clId="{7F2DE69D-8C9F-4CB1-8222-8CA7389F170C}" dt="2025-05-02T21:12:26.311" v="15592"/>
          <ac:spMkLst>
            <pc:docMk/>
            <pc:sldMk cId="1629867990" sldId="4461"/>
            <ac:spMk id="51" creationId="{BD564D6E-D481-C129-7079-1706DB5B7B5E}"/>
          </ac:spMkLst>
        </pc:spChg>
        <pc:spChg chg="mod">
          <ac:chgData name="Polanco Zanetta, Sebastian" userId="679afde1-f2ca-45a1-83ca-bc48414eb788" providerId="ADAL" clId="{7F2DE69D-8C9F-4CB1-8222-8CA7389F170C}" dt="2025-05-02T21:12:26.311" v="15593"/>
          <ac:spMkLst>
            <pc:docMk/>
            <pc:sldMk cId="1629867990" sldId="4461"/>
            <ac:spMk id="52" creationId="{D39191ED-14F4-CCC0-8F53-90DF17EB1D44}"/>
          </ac:spMkLst>
        </pc:spChg>
        <pc:spChg chg="mod ord">
          <ac:chgData name="Polanco Zanetta, Sebastian" userId="679afde1-f2ca-45a1-83ca-bc48414eb788" providerId="ADAL" clId="{7F2DE69D-8C9F-4CB1-8222-8CA7389F170C}" dt="2025-05-02T21:12:26.311" v="15595"/>
          <ac:spMkLst>
            <pc:docMk/>
            <pc:sldMk cId="1629867990" sldId="4461"/>
            <ac:spMk id="53" creationId="{4D83F861-BFBA-99E7-4B61-0410BAA8B63E}"/>
          </ac:spMkLst>
        </pc:spChg>
        <pc:spChg chg="mod ord">
          <ac:chgData name="Polanco Zanetta, Sebastian" userId="679afde1-f2ca-45a1-83ca-bc48414eb788" providerId="ADAL" clId="{7F2DE69D-8C9F-4CB1-8222-8CA7389F170C}" dt="2025-05-02T21:12:26.311" v="15597"/>
          <ac:spMkLst>
            <pc:docMk/>
            <pc:sldMk cId="1629867990" sldId="4461"/>
            <ac:spMk id="54" creationId="{5EFDAB92-A89A-BB56-F7D9-8DC8CBFDC9F0}"/>
          </ac:spMkLst>
        </pc:spChg>
        <pc:spChg chg="mod ord">
          <ac:chgData name="Polanco Zanetta, Sebastian" userId="679afde1-f2ca-45a1-83ca-bc48414eb788" providerId="ADAL" clId="{7F2DE69D-8C9F-4CB1-8222-8CA7389F170C}" dt="2025-05-02T21:12:26.311" v="15599"/>
          <ac:spMkLst>
            <pc:docMk/>
            <pc:sldMk cId="1629867990" sldId="4461"/>
            <ac:spMk id="57" creationId="{4F51B16D-C4FE-40DF-E65C-6B55C5D818E2}"/>
          </ac:spMkLst>
        </pc:spChg>
        <pc:spChg chg="mod ord">
          <ac:chgData name="Polanco Zanetta, Sebastian" userId="679afde1-f2ca-45a1-83ca-bc48414eb788" providerId="ADAL" clId="{7F2DE69D-8C9F-4CB1-8222-8CA7389F170C}" dt="2025-05-02T21:12:26.311" v="15601"/>
          <ac:spMkLst>
            <pc:docMk/>
            <pc:sldMk cId="1629867990" sldId="4461"/>
            <ac:spMk id="58" creationId="{B40EEE1B-A36F-732C-212A-B6691EEC8785}"/>
          </ac:spMkLst>
        </pc:spChg>
        <pc:spChg chg="mod">
          <ac:chgData name="Polanco Zanetta, Sebastian" userId="679afde1-f2ca-45a1-83ca-bc48414eb788" providerId="ADAL" clId="{7F2DE69D-8C9F-4CB1-8222-8CA7389F170C}" dt="2025-05-07T04:23:08.777" v="17670" actId="20577"/>
          <ac:spMkLst>
            <pc:docMk/>
            <pc:sldMk cId="1629867990" sldId="4461"/>
            <ac:spMk id="81" creationId="{7F434679-4DC9-6788-1D9C-3923B0ECAC56}"/>
          </ac:spMkLst>
        </pc:spChg>
        <pc:spChg chg="mod">
          <ac:chgData name="Polanco Zanetta, Sebastian" userId="679afde1-f2ca-45a1-83ca-bc48414eb788" providerId="ADAL" clId="{7F2DE69D-8C9F-4CB1-8222-8CA7389F170C}" dt="2025-05-08T04:57:15.422" v="18025" actId="20577"/>
          <ac:spMkLst>
            <pc:docMk/>
            <pc:sldMk cId="1629867990" sldId="4461"/>
            <ac:spMk id="82" creationId="{F04E3F0C-5E10-DEDA-39F0-4A76AD9F4FF2}"/>
          </ac:spMkLst>
        </pc:spChg>
        <pc:spChg chg="mod">
          <ac:chgData name="Polanco Zanetta, Sebastian" userId="679afde1-f2ca-45a1-83ca-bc48414eb788" providerId="ADAL" clId="{7F2DE69D-8C9F-4CB1-8222-8CA7389F170C}" dt="2025-05-07T04:23:12.426" v="17676" actId="20577"/>
          <ac:spMkLst>
            <pc:docMk/>
            <pc:sldMk cId="1629867990" sldId="4461"/>
            <ac:spMk id="84" creationId="{AE1C4C64-B402-1E60-EC26-E6FC97B4CB5E}"/>
          </ac:spMkLst>
        </pc:spChg>
        <pc:spChg chg="mod">
          <ac:chgData name="Polanco Zanetta, Sebastian" userId="679afde1-f2ca-45a1-83ca-bc48414eb788" providerId="ADAL" clId="{7F2DE69D-8C9F-4CB1-8222-8CA7389F170C}" dt="2025-05-08T04:57:17.832" v="18027" actId="20577"/>
          <ac:spMkLst>
            <pc:docMk/>
            <pc:sldMk cId="1629867990" sldId="4461"/>
            <ac:spMk id="85" creationId="{C2043354-14EB-A4B1-0A7D-BDBB223A7740}"/>
          </ac:spMkLst>
        </pc:spChg>
        <pc:grpChg chg="mod ord">
          <ac:chgData name="Polanco Zanetta, Sebastian" userId="679afde1-f2ca-45a1-83ca-bc48414eb788" providerId="ADAL" clId="{7F2DE69D-8C9F-4CB1-8222-8CA7389F170C}" dt="2025-05-02T21:17:28.827" v="15617"/>
          <ac:grpSpMkLst>
            <pc:docMk/>
            <pc:sldMk cId="1629867990" sldId="4461"/>
            <ac:grpSpMk id="80" creationId="{6ABE53E3-7D24-CA1B-EF93-181318E35F3F}"/>
          </ac:grpSpMkLst>
        </pc:grpChg>
        <pc:grpChg chg="mod ord">
          <ac:chgData name="Polanco Zanetta, Sebastian" userId="679afde1-f2ca-45a1-83ca-bc48414eb788" providerId="ADAL" clId="{7F2DE69D-8C9F-4CB1-8222-8CA7389F170C}" dt="2025-05-02T21:12:26.311" v="15605"/>
          <ac:grpSpMkLst>
            <pc:docMk/>
            <pc:sldMk cId="1629867990" sldId="4461"/>
            <ac:grpSpMk id="83" creationId="{D930F4E2-7A42-3653-EF7C-7283828EF049}"/>
          </ac:grpSpMkLst>
        </pc:grpChg>
        <pc:graphicFrameChg chg="mod">
          <ac:chgData name="Polanco Zanetta, Sebastian" userId="679afde1-f2ca-45a1-83ca-bc48414eb788" providerId="ADAL" clId="{7F2DE69D-8C9F-4CB1-8222-8CA7389F170C}" dt="2025-05-02T21:12:26.311" v="15613"/>
          <ac:graphicFrameMkLst>
            <pc:docMk/>
            <pc:sldMk cId="1629867990" sldId="4461"/>
            <ac:graphicFrameMk id="7" creationId="{D6671726-3BCD-F3FA-F071-A4A61FC92580}"/>
          </ac:graphicFrameMkLst>
        </pc:graphicFrameChg>
        <pc:picChg chg="mod ord">
          <ac:chgData name="Polanco Zanetta, Sebastian" userId="679afde1-f2ca-45a1-83ca-bc48414eb788" providerId="ADAL" clId="{7F2DE69D-8C9F-4CB1-8222-8CA7389F170C}" dt="2025-05-02T21:12:26.295" v="15549"/>
          <ac:picMkLst>
            <pc:docMk/>
            <pc:sldMk cId="1629867990" sldId="4461"/>
            <ac:picMk id="13" creationId="{1D97AB21-316F-A56C-8464-51BD9DF1C681}"/>
          </ac:picMkLst>
        </pc:picChg>
        <pc:cxnChg chg="mod ord">
          <ac:chgData name="Polanco Zanetta, Sebastian" userId="679afde1-f2ca-45a1-83ca-bc48414eb788" providerId="ADAL" clId="{7F2DE69D-8C9F-4CB1-8222-8CA7389F170C}" dt="2025-05-02T21:12:26.295" v="15554"/>
          <ac:cxnSpMkLst>
            <pc:docMk/>
            <pc:sldMk cId="1629867990" sldId="4461"/>
            <ac:cxnSpMk id="14" creationId="{5CEC6A7E-BFFA-AA11-6617-E31859887DF2}"/>
          </ac:cxnSpMkLst>
        </pc:cxnChg>
        <pc:cxnChg chg="mod ord">
          <ac:chgData name="Polanco Zanetta, Sebastian" userId="679afde1-f2ca-45a1-83ca-bc48414eb788" providerId="ADAL" clId="{7F2DE69D-8C9F-4CB1-8222-8CA7389F170C}" dt="2025-05-02T21:12:26.295" v="15556"/>
          <ac:cxnSpMkLst>
            <pc:docMk/>
            <pc:sldMk cId="1629867990" sldId="4461"/>
            <ac:cxnSpMk id="15" creationId="{D679126A-9FEA-A1B5-6082-DB91F9B6E39E}"/>
          </ac:cxnSpMkLst>
        </pc:cxnChg>
        <pc:cxnChg chg="mod ord">
          <ac:chgData name="Polanco Zanetta, Sebastian" userId="679afde1-f2ca-45a1-83ca-bc48414eb788" providerId="ADAL" clId="{7F2DE69D-8C9F-4CB1-8222-8CA7389F170C}" dt="2025-05-02T21:12:26.295" v="15558"/>
          <ac:cxnSpMkLst>
            <pc:docMk/>
            <pc:sldMk cId="1629867990" sldId="4461"/>
            <ac:cxnSpMk id="16" creationId="{67102B31-5821-5C19-5B47-56C9749D70A7}"/>
          </ac:cxnSpMkLst>
        </pc:cxnChg>
        <pc:cxnChg chg="mod ord">
          <ac:chgData name="Polanco Zanetta, Sebastian" userId="679afde1-f2ca-45a1-83ca-bc48414eb788" providerId="ADAL" clId="{7F2DE69D-8C9F-4CB1-8222-8CA7389F170C}" dt="2025-05-02T21:12:26.295" v="15560"/>
          <ac:cxnSpMkLst>
            <pc:docMk/>
            <pc:sldMk cId="1629867990" sldId="4461"/>
            <ac:cxnSpMk id="17" creationId="{4FEB73BC-034E-B6C6-B609-1DB14FC3030B}"/>
          </ac:cxnSpMkLst>
        </pc:cxnChg>
        <pc:cxnChg chg="mod ord">
          <ac:chgData name="Polanco Zanetta, Sebastian" userId="679afde1-f2ca-45a1-83ca-bc48414eb788" providerId="ADAL" clId="{7F2DE69D-8C9F-4CB1-8222-8CA7389F170C}" dt="2025-05-02T21:12:26.295" v="15562"/>
          <ac:cxnSpMkLst>
            <pc:docMk/>
            <pc:sldMk cId="1629867990" sldId="4461"/>
            <ac:cxnSpMk id="18" creationId="{A860AC8E-3A5A-3790-2A50-A5958A2D4AC8}"/>
          </ac:cxnSpMkLst>
        </pc:cxnChg>
        <pc:cxnChg chg="mod ord">
          <ac:chgData name="Polanco Zanetta, Sebastian" userId="679afde1-f2ca-45a1-83ca-bc48414eb788" providerId="ADAL" clId="{7F2DE69D-8C9F-4CB1-8222-8CA7389F170C}" dt="2025-05-02T21:12:26.295" v="15564"/>
          <ac:cxnSpMkLst>
            <pc:docMk/>
            <pc:sldMk cId="1629867990" sldId="4461"/>
            <ac:cxnSpMk id="19" creationId="{37A1C14D-F734-9329-9753-8160E4DE3911}"/>
          </ac:cxnSpMkLst>
        </pc:cxnChg>
        <pc:cxnChg chg="mod ord">
          <ac:chgData name="Polanco Zanetta, Sebastian" userId="679afde1-f2ca-45a1-83ca-bc48414eb788" providerId="ADAL" clId="{7F2DE69D-8C9F-4CB1-8222-8CA7389F170C}" dt="2025-05-02T21:12:26.311" v="15579"/>
          <ac:cxnSpMkLst>
            <pc:docMk/>
            <pc:sldMk cId="1629867990" sldId="4461"/>
            <ac:cxnSpMk id="43" creationId="{A544184C-5650-0F49-79D2-C0074B07B5A8}"/>
          </ac:cxnSpMkLst>
        </pc:cxnChg>
        <pc:cxnChg chg="mod ord">
          <ac:chgData name="Polanco Zanetta, Sebastian" userId="679afde1-f2ca-45a1-83ca-bc48414eb788" providerId="ADAL" clId="{7F2DE69D-8C9F-4CB1-8222-8CA7389F170C}" dt="2025-05-02T21:12:26.311" v="15581"/>
          <ac:cxnSpMkLst>
            <pc:docMk/>
            <pc:sldMk cId="1629867990" sldId="4461"/>
            <ac:cxnSpMk id="44" creationId="{5D7B71DC-F139-ECE6-52AA-F1F75BB7F908}"/>
          </ac:cxnSpMkLst>
        </pc:cxnChg>
        <pc:cxnChg chg="mod ord">
          <ac:chgData name="Polanco Zanetta, Sebastian" userId="679afde1-f2ca-45a1-83ca-bc48414eb788" providerId="ADAL" clId="{7F2DE69D-8C9F-4CB1-8222-8CA7389F170C}" dt="2025-05-02T21:12:26.311" v="15583"/>
          <ac:cxnSpMkLst>
            <pc:docMk/>
            <pc:sldMk cId="1629867990" sldId="4461"/>
            <ac:cxnSpMk id="45" creationId="{B3DEA2D6-3B26-15F3-BB80-64414E70E0FE}"/>
          </ac:cxnSpMkLst>
        </pc:cxnChg>
        <pc:cxnChg chg="mod ord">
          <ac:chgData name="Polanco Zanetta, Sebastian" userId="679afde1-f2ca-45a1-83ca-bc48414eb788" providerId="ADAL" clId="{7F2DE69D-8C9F-4CB1-8222-8CA7389F170C}" dt="2025-05-02T21:12:26.311" v="15585"/>
          <ac:cxnSpMkLst>
            <pc:docMk/>
            <pc:sldMk cId="1629867990" sldId="4461"/>
            <ac:cxnSpMk id="46" creationId="{C26E0BED-8DB7-AEFA-D57B-232E989B983A}"/>
          </ac:cxnSpMkLst>
        </pc:cxnChg>
        <pc:cxnChg chg="mod ord">
          <ac:chgData name="Polanco Zanetta, Sebastian" userId="679afde1-f2ca-45a1-83ca-bc48414eb788" providerId="ADAL" clId="{7F2DE69D-8C9F-4CB1-8222-8CA7389F170C}" dt="2025-05-02T21:12:26.311" v="15587"/>
          <ac:cxnSpMkLst>
            <pc:docMk/>
            <pc:sldMk cId="1629867990" sldId="4461"/>
            <ac:cxnSpMk id="47" creationId="{FDE3A9DC-3DFE-5C71-B75C-72BDBB4248FE}"/>
          </ac:cxnSpMkLst>
        </pc:cxnChg>
        <pc:cxnChg chg="mod ord">
          <ac:chgData name="Polanco Zanetta, Sebastian" userId="679afde1-f2ca-45a1-83ca-bc48414eb788" providerId="ADAL" clId="{7F2DE69D-8C9F-4CB1-8222-8CA7389F170C}" dt="2025-05-02T21:12:26.311" v="15589"/>
          <ac:cxnSpMkLst>
            <pc:docMk/>
            <pc:sldMk cId="1629867990" sldId="4461"/>
            <ac:cxnSpMk id="48" creationId="{C0A3F0F2-6906-C61B-8785-971D803D377E}"/>
          </ac:cxnSpMkLst>
        </pc:cxnChg>
        <pc:cxnChg chg="mod ord">
          <ac:chgData name="Polanco Zanetta, Sebastian" userId="679afde1-f2ca-45a1-83ca-bc48414eb788" providerId="ADAL" clId="{7F2DE69D-8C9F-4CB1-8222-8CA7389F170C}" dt="2025-05-02T21:12:26.311" v="15607"/>
          <ac:cxnSpMkLst>
            <pc:docMk/>
            <pc:sldMk cId="1629867990" sldId="4461"/>
            <ac:cxnSpMk id="86" creationId="{B7A6D01B-5615-E2D5-FAFD-8EF35437EA5A}"/>
          </ac:cxnSpMkLst>
        </pc:cxnChg>
      </pc:sldChg>
      <pc:sldChg chg="addSp delSp modSp mod">
        <pc:chgData name="Polanco Zanetta, Sebastian" userId="679afde1-f2ca-45a1-83ca-bc48414eb788" providerId="ADAL" clId="{7F2DE69D-8C9F-4CB1-8222-8CA7389F170C}" dt="2025-05-07T16:56:40.571" v="17918"/>
        <pc:sldMkLst>
          <pc:docMk/>
          <pc:sldMk cId="2798752304" sldId="4463"/>
        </pc:sldMkLst>
        <pc:spChg chg="mod">
          <ac:chgData name="Polanco Zanetta, Sebastian" userId="679afde1-f2ca-45a1-83ca-bc48414eb788" providerId="ADAL" clId="{7F2DE69D-8C9F-4CB1-8222-8CA7389F170C}" dt="2025-05-02T21:09:37.566" v="13457"/>
          <ac:spMkLst>
            <pc:docMk/>
            <pc:sldMk cId="2798752304" sldId="4463"/>
            <ac:spMk id="3" creationId="{AF704D12-DF26-2A97-D0B4-0B30AD478DD7}"/>
          </ac:spMkLst>
        </pc:spChg>
        <pc:spChg chg="add mod">
          <ac:chgData name="Polanco Zanetta, Sebastian" userId="679afde1-f2ca-45a1-83ca-bc48414eb788" providerId="ADAL" clId="{7F2DE69D-8C9F-4CB1-8222-8CA7389F170C}" dt="2025-05-07T16:56:40.571" v="17918"/>
          <ac:spMkLst>
            <pc:docMk/>
            <pc:sldMk cId="2798752304" sldId="4463"/>
            <ac:spMk id="5" creationId="{6BD1C4BC-1C94-0DC7-34D3-52F83AA4B491}"/>
          </ac:spMkLst>
        </pc:spChg>
        <pc:spChg chg="mod">
          <ac:chgData name="Polanco Zanetta, Sebastian" userId="679afde1-f2ca-45a1-83ca-bc48414eb788" providerId="ADAL" clId="{7F2DE69D-8C9F-4CB1-8222-8CA7389F170C}" dt="2025-05-07T04:26:04.036" v="17772" actId="20577"/>
          <ac:spMkLst>
            <pc:docMk/>
            <pc:sldMk cId="2798752304" sldId="4463"/>
            <ac:spMk id="6" creationId="{DC20AEAF-2EBF-150B-6775-B341008E86B5}"/>
          </ac:spMkLst>
        </pc:spChg>
        <pc:spChg chg="mod">
          <ac:chgData name="Polanco Zanetta, Sebastian" userId="679afde1-f2ca-45a1-83ca-bc48414eb788" providerId="ADAL" clId="{7F2DE69D-8C9F-4CB1-8222-8CA7389F170C}" dt="2025-05-03T00:21:13.902" v="16715" actId="1076"/>
          <ac:spMkLst>
            <pc:docMk/>
            <pc:sldMk cId="2798752304" sldId="4463"/>
            <ac:spMk id="14" creationId="{18D47C41-52C2-31A3-29D5-822D74B62AF2}"/>
          </ac:spMkLst>
        </pc:spChg>
        <pc:spChg chg="mod">
          <ac:chgData name="Polanco Zanetta, Sebastian" userId="679afde1-f2ca-45a1-83ca-bc48414eb788" providerId="ADAL" clId="{7F2DE69D-8C9F-4CB1-8222-8CA7389F170C}" dt="2025-05-07T04:25:10.856" v="17743" actId="20577"/>
          <ac:spMkLst>
            <pc:docMk/>
            <pc:sldMk cId="2798752304" sldId="4463"/>
            <ac:spMk id="15" creationId="{05ED091A-F71A-859B-F8CE-2063216E4FCC}"/>
          </ac:spMkLst>
        </pc:spChg>
        <pc:spChg chg="mod">
          <ac:chgData name="Polanco Zanetta, Sebastian" userId="679afde1-f2ca-45a1-83ca-bc48414eb788" providerId="ADAL" clId="{7F2DE69D-8C9F-4CB1-8222-8CA7389F170C}" dt="2025-05-03T00:20:54.865" v="16713" actId="20577"/>
          <ac:spMkLst>
            <pc:docMk/>
            <pc:sldMk cId="2798752304" sldId="4463"/>
            <ac:spMk id="16" creationId="{E5A450CC-13FC-687E-730D-74DE6A286DDC}"/>
          </ac:spMkLst>
        </pc:spChg>
        <pc:spChg chg="mod">
          <ac:chgData name="Polanco Zanetta, Sebastian" userId="679afde1-f2ca-45a1-83ca-bc48414eb788" providerId="ADAL" clId="{7F2DE69D-8C9F-4CB1-8222-8CA7389F170C}" dt="2025-05-02T21:09:37.566" v="13457"/>
          <ac:spMkLst>
            <pc:docMk/>
            <pc:sldMk cId="2798752304" sldId="4463"/>
            <ac:spMk id="18" creationId="{6549801B-CCA9-B0CC-6A92-EF9635CF0163}"/>
          </ac:spMkLst>
        </pc:spChg>
        <pc:spChg chg="mod">
          <ac:chgData name="Polanco Zanetta, Sebastian" userId="679afde1-f2ca-45a1-83ca-bc48414eb788" providerId="ADAL" clId="{7F2DE69D-8C9F-4CB1-8222-8CA7389F170C}" dt="2025-05-02T21:07:06.879" v="13412" actId="20577"/>
          <ac:spMkLst>
            <pc:docMk/>
            <pc:sldMk cId="2798752304" sldId="4463"/>
            <ac:spMk id="20" creationId="{4F89E58D-5E95-C12F-787F-58562E13CC27}"/>
          </ac:spMkLst>
        </pc:spChg>
        <pc:spChg chg="mod">
          <ac:chgData name="Polanco Zanetta, Sebastian" userId="679afde1-f2ca-45a1-83ca-bc48414eb788" providerId="ADAL" clId="{7F2DE69D-8C9F-4CB1-8222-8CA7389F170C}" dt="2025-05-02T21:09:37.566" v="13457"/>
          <ac:spMkLst>
            <pc:docMk/>
            <pc:sldMk cId="2798752304" sldId="4463"/>
            <ac:spMk id="22" creationId="{15B5A5A8-2943-ECDD-5CB5-34269E7D5632}"/>
          </ac:spMkLst>
        </pc:spChg>
      </pc:sldChg>
      <pc:sldChg chg="addSp delSp modSp mod">
        <pc:chgData name="Polanco Zanetta, Sebastian" userId="679afde1-f2ca-45a1-83ca-bc48414eb788" providerId="ADAL" clId="{7F2DE69D-8C9F-4CB1-8222-8CA7389F170C}" dt="2025-05-07T16:56:39.239" v="17917"/>
        <pc:sldMkLst>
          <pc:docMk/>
          <pc:sldMk cId="1760513304" sldId="4466"/>
        </pc:sldMkLst>
        <pc:spChg chg="add mod">
          <ac:chgData name="Polanco Zanetta, Sebastian" userId="679afde1-f2ca-45a1-83ca-bc48414eb788" providerId="ADAL" clId="{7F2DE69D-8C9F-4CB1-8222-8CA7389F170C}" dt="2025-05-07T16:56:39.239" v="17917"/>
          <ac:spMkLst>
            <pc:docMk/>
            <pc:sldMk cId="1760513304" sldId="4466"/>
            <ac:spMk id="2" creationId="{9D861AAF-F4CA-80B2-B321-9D74F33678B5}"/>
          </ac:spMkLst>
        </pc:spChg>
        <pc:spChg chg="mod ord">
          <ac:chgData name="Polanco Zanetta, Sebastian" userId="679afde1-f2ca-45a1-83ca-bc48414eb788" providerId="ADAL" clId="{7F2DE69D-8C9F-4CB1-8222-8CA7389F170C}" dt="2025-05-02T21:05:50.452" v="13303"/>
          <ac:spMkLst>
            <pc:docMk/>
            <pc:sldMk cId="1760513304" sldId="4466"/>
            <ac:spMk id="3" creationId="{B08A3FF0-4983-27BB-54EA-18657BFABA81}"/>
          </ac:spMkLst>
        </pc:spChg>
        <pc:spChg chg="mod ord">
          <ac:chgData name="Polanco Zanetta, Sebastian" userId="679afde1-f2ca-45a1-83ca-bc48414eb788" providerId="ADAL" clId="{7F2DE69D-8C9F-4CB1-8222-8CA7389F170C}" dt="2025-05-02T21:09:37.566" v="13457"/>
          <ac:spMkLst>
            <pc:docMk/>
            <pc:sldMk cId="1760513304" sldId="4466"/>
            <ac:spMk id="4" creationId="{6A7F2D4C-73BB-7B71-EB56-C0970BC21EF1}"/>
          </ac:spMkLst>
        </pc:spChg>
        <pc:spChg chg="mod">
          <ac:chgData name="Polanco Zanetta, Sebastian" userId="679afde1-f2ca-45a1-83ca-bc48414eb788" providerId="ADAL" clId="{7F2DE69D-8C9F-4CB1-8222-8CA7389F170C}" dt="2025-05-02T21:05:50.452" v="13305"/>
          <ac:spMkLst>
            <pc:docMk/>
            <pc:sldMk cId="1760513304" sldId="4466"/>
            <ac:spMk id="5" creationId="{5B96047E-83F4-9D3B-AF5E-107A0AB0935C}"/>
          </ac:spMkLst>
        </pc:spChg>
        <pc:spChg chg="mod">
          <ac:chgData name="Polanco Zanetta, Sebastian" userId="679afde1-f2ca-45a1-83ca-bc48414eb788" providerId="ADAL" clId="{7F2DE69D-8C9F-4CB1-8222-8CA7389F170C}" dt="2025-05-02T21:05:50.452" v="13306"/>
          <ac:spMkLst>
            <pc:docMk/>
            <pc:sldMk cId="1760513304" sldId="4466"/>
            <ac:spMk id="6" creationId="{067BCAAA-FCCE-2A54-FE5A-56B7AD12B151}"/>
          </ac:spMkLst>
        </pc:spChg>
        <pc:spChg chg="mod ord">
          <ac:chgData name="Polanco Zanetta, Sebastian" userId="679afde1-f2ca-45a1-83ca-bc48414eb788" providerId="ADAL" clId="{7F2DE69D-8C9F-4CB1-8222-8CA7389F170C}" dt="2025-05-02T21:05:50.468" v="13379"/>
          <ac:spMkLst>
            <pc:docMk/>
            <pc:sldMk cId="1760513304" sldId="4466"/>
            <ac:spMk id="9" creationId="{B21F7771-47AC-D11A-213B-D3BF64955180}"/>
          </ac:spMkLst>
        </pc:spChg>
        <pc:spChg chg="mod">
          <ac:chgData name="Polanco Zanetta, Sebastian" userId="679afde1-f2ca-45a1-83ca-bc48414eb788" providerId="ADAL" clId="{7F2DE69D-8C9F-4CB1-8222-8CA7389F170C}" dt="2025-05-02T21:05:50.452" v="13307"/>
          <ac:spMkLst>
            <pc:docMk/>
            <pc:sldMk cId="1760513304" sldId="4466"/>
            <ac:spMk id="11" creationId="{323E67C3-4B9A-021F-884F-DA0A964DC87E}"/>
          </ac:spMkLst>
        </pc:spChg>
        <pc:spChg chg="mod">
          <ac:chgData name="Polanco Zanetta, Sebastian" userId="679afde1-f2ca-45a1-83ca-bc48414eb788" providerId="ADAL" clId="{7F2DE69D-8C9F-4CB1-8222-8CA7389F170C}" dt="2025-05-02T21:05:50.452" v="13308"/>
          <ac:spMkLst>
            <pc:docMk/>
            <pc:sldMk cId="1760513304" sldId="4466"/>
            <ac:spMk id="12" creationId="{3629E269-B126-BAA8-B750-A51E3C746EBB}"/>
          </ac:spMkLst>
        </pc:spChg>
        <pc:spChg chg="mod">
          <ac:chgData name="Polanco Zanetta, Sebastian" userId="679afde1-f2ca-45a1-83ca-bc48414eb788" providerId="ADAL" clId="{7F2DE69D-8C9F-4CB1-8222-8CA7389F170C}" dt="2025-05-02T21:05:50.452" v="13309"/>
          <ac:spMkLst>
            <pc:docMk/>
            <pc:sldMk cId="1760513304" sldId="4466"/>
            <ac:spMk id="13" creationId="{BD5E8216-3BD3-5372-5EF3-93871F125BEB}"/>
          </ac:spMkLst>
        </pc:spChg>
        <pc:spChg chg="mod">
          <ac:chgData name="Polanco Zanetta, Sebastian" userId="679afde1-f2ca-45a1-83ca-bc48414eb788" providerId="ADAL" clId="{7F2DE69D-8C9F-4CB1-8222-8CA7389F170C}" dt="2025-05-02T21:05:50.452" v="13310"/>
          <ac:spMkLst>
            <pc:docMk/>
            <pc:sldMk cId="1760513304" sldId="4466"/>
            <ac:spMk id="14" creationId="{88AC694A-8EFE-9FC6-1C22-72841EB70936}"/>
          </ac:spMkLst>
        </pc:spChg>
        <pc:spChg chg="mod">
          <ac:chgData name="Polanco Zanetta, Sebastian" userId="679afde1-f2ca-45a1-83ca-bc48414eb788" providerId="ADAL" clId="{7F2DE69D-8C9F-4CB1-8222-8CA7389F170C}" dt="2025-05-02T21:05:50.452" v="13311"/>
          <ac:spMkLst>
            <pc:docMk/>
            <pc:sldMk cId="1760513304" sldId="4466"/>
            <ac:spMk id="15" creationId="{5DD406B0-0480-9895-9CFA-021624003F63}"/>
          </ac:spMkLst>
        </pc:spChg>
        <pc:spChg chg="mod">
          <ac:chgData name="Polanco Zanetta, Sebastian" userId="679afde1-f2ca-45a1-83ca-bc48414eb788" providerId="ADAL" clId="{7F2DE69D-8C9F-4CB1-8222-8CA7389F170C}" dt="2025-05-02T21:05:50.452" v="13312"/>
          <ac:spMkLst>
            <pc:docMk/>
            <pc:sldMk cId="1760513304" sldId="4466"/>
            <ac:spMk id="16" creationId="{24721483-781E-D48C-46EA-1508F36BB096}"/>
          </ac:spMkLst>
        </pc:spChg>
        <pc:spChg chg="mod ord">
          <ac:chgData name="Polanco Zanetta, Sebastian" userId="679afde1-f2ca-45a1-83ca-bc48414eb788" providerId="ADAL" clId="{7F2DE69D-8C9F-4CB1-8222-8CA7389F170C}" dt="2025-05-02T21:05:50.452" v="13314"/>
          <ac:spMkLst>
            <pc:docMk/>
            <pc:sldMk cId="1760513304" sldId="4466"/>
            <ac:spMk id="17" creationId="{0A6F95A0-B8EA-543D-61B8-F4B8EA24B48C}"/>
          </ac:spMkLst>
        </pc:spChg>
        <pc:spChg chg="mod ord">
          <ac:chgData name="Polanco Zanetta, Sebastian" userId="679afde1-f2ca-45a1-83ca-bc48414eb788" providerId="ADAL" clId="{7F2DE69D-8C9F-4CB1-8222-8CA7389F170C}" dt="2025-05-02T21:05:50.452" v="13316"/>
          <ac:spMkLst>
            <pc:docMk/>
            <pc:sldMk cId="1760513304" sldId="4466"/>
            <ac:spMk id="18" creationId="{43AF2ACE-FA92-38BD-2F92-CAE2090B9830}"/>
          </ac:spMkLst>
        </pc:spChg>
        <pc:spChg chg="mod">
          <ac:chgData name="Polanco Zanetta, Sebastian" userId="679afde1-f2ca-45a1-83ca-bc48414eb788" providerId="ADAL" clId="{7F2DE69D-8C9F-4CB1-8222-8CA7389F170C}" dt="2025-05-02T21:05:50.452" v="13317"/>
          <ac:spMkLst>
            <pc:docMk/>
            <pc:sldMk cId="1760513304" sldId="4466"/>
            <ac:spMk id="19" creationId="{EAFB09D3-300F-A0CE-4515-4D06409C4023}"/>
          </ac:spMkLst>
        </pc:spChg>
        <pc:spChg chg="mod">
          <ac:chgData name="Polanco Zanetta, Sebastian" userId="679afde1-f2ca-45a1-83ca-bc48414eb788" providerId="ADAL" clId="{7F2DE69D-8C9F-4CB1-8222-8CA7389F170C}" dt="2025-05-02T21:05:50.452" v="13318"/>
          <ac:spMkLst>
            <pc:docMk/>
            <pc:sldMk cId="1760513304" sldId="4466"/>
            <ac:spMk id="20" creationId="{63D07D72-F8A9-C138-7C59-A8F46A9F19DF}"/>
          </ac:spMkLst>
        </pc:spChg>
        <pc:spChg chg="mod ord">
          <ac:chgData name="Polanco Zanetta, Sebastian" userId="679afde1-f2ca-45a1-83ca-bc48414eb788" providerId="ADAL" clId="{7F2DE69D-8C9F-4CB1-8222-8CA7389F170C}" dt="2025-05-02T21:05:50.452" v="13320"/>
          <ac:spMkLst>
            <pc:docMk/>
            <pc:sldMk cId="1760513304" sldId="4466"/>
            <ac:spMk id="22" creationId="{A36F0498-BC85-D29E-1325-EA48FA70FB6A}"/>
          </ac:spMkLst>
        </pc:spChg>
        <pc:spChg chg="mod">
          <ac:chgData name="Polanco Zanetta, Sebastian" userId="679afde1-f2ca-45a1-83ca-bc48414eb788" providerId="ADAL" clId="{7F2DE69D-8C9F-4CB1-8222-8CA7389F170C}" dt="2025-05-02T21:52:01.738" v="16275" actId="1076"/>
          <ac:spMkLst>
            <pc:docMk/>
            <pc:sldMk cId="1760513304" sldId="4466"/>
            <ac:spMk id="23" creationId="{E115D2AE-C188-8965-1106-4F0A58322D49}"/>
          </ac:spMkLst>
        </pc:spChg>
        <pc:spChg chg="mod ord">
          <ac:chgData name="Polanco Zanetta, Sebastian" userId="679afde1-f2ca-45a1-83ca-bc48414eb788" providerId="ADAL" clId="{7F2DE69D-8C9F-4CB1-8222-8CA7389F170C}" dt="2025-05-02T21:05:50.452" v="13323"/>
          <ac:spMkLst>
            <pc:docMk/>
            <pc:sldMk cId="1760513304" sldId="4466"/>
            <ac:spMk id="24" creationId="{AE78BB7C-B211-4C8E-D391-E9A90833CB89}"/>
          </ac:spMkLst>
        </pc:spChg>
        <pc:spChg chg="mod ord">
          <ac:chgData name="Polanco Zanetta, Sebastian" userId="679afde1-f2ca-45a1-83ca-bc48414eb788" providerId="ADAL" clId="{7F2DE69D-8C9F-4CB1-8222-8CA7389F170C}" dt="2025-05-02T21:09:37.566" v="13457"/>
          <ac:spMkLst>
            <pc:docMk/>
            <pc:sldMk cId="1760513304" sldId="4466"/>
            <ac:spMk id="29" creationId="{57A96C27-4A39-0B14-E7D6-B462E03686CF}"/>
          </ac:spMkLst>
        </pc:spChg>
        <pc:spChg chg="mod ord">
          <ac:chgData name="Polanco Zanetta, Sebastian" userId="679afde1-f2ca-45a1-83ca-bc48414eb788" providerId="ADAL" clId="{7F2DE69D-8C9F-4CB1-8222-8CA7389F170C}" dt="2025-05-02T21:05:50.452" v="13335"/>
          <ac:spMkLst>
            <pc:docMk/>
            <pc:sldMk cId="1760513304" sldId="4466"/>
            <ac:spMk id="30" creationId="{BD05B8E3-5CAB-F8C7-053E-3A568A413E9C}"/>
          </ac:spMkLst>
        </pc:spChg>
        <pc:spChg chg="mod ord">
          <ac:chgData name="Polanco Zanetta, Sebastian" userId="679afde1-f2ca-45a1-83ca-bc48414eb788" providerId="ADAL" clId="{7F2DE69D-8C9F-4CB1-8222-8CA7389F170C}" dt="2025-05-02T21:05:53.698" v="13385" actId="20577"/>
          <ac:spMkLst>
            <pc:docMk/>
            <pc:sldMk cId="1760513304" sldId="4466"/>
            <ac:spMk id="31" creationId="{7F63668B-7CC3-9744-BE36-109DF91AD4EA}"/>
          </ac:spMkLst>
        </pc:spChg>
        <pc:spChg chg="mod ord">
          <ac:chgData name="Polanco Zanetta, Sebastian" userId="679afde1-f2ca-45a1-83ca-bc48414eb788" providerId="ADAL" clId="{7F2DE69D-8C9F-4CB1-8222-8CA7389F170C}" dt="2025-05-02T21:05:50.452" v="13301"/>
          <ac:spMkLst>
            <pc:docMk/>
            <pc:sldMk cId="1760513304" sldId="4466"/>
            <ac:spMk id="33" creationId="{592F303F-291C-CFC1-63C5-68DFD1197046}"/>
          </ac:spMkLst>
        </pc:spChg>
        <pc:spChg chg="mod ord">
          <ac:chgData name="Polanco Zanetta, Sebastian" userId="679afde1-f2ca-45a1-83ca-bc48414eb788" providerId="ADAL" clId="{7F2DE69D-8C9F-4CB1-8222-8CA7389F170C}" dt="2025-05-02T21:05:50.452" v="13341"/>
          <ac:spMkLst>
            <pc:docMk/>
            <pc:sldMk cId="1760513304" sldId="4466"/>
            <ac:spMk id="37" creationId="{7C65B210-8547-028D-D2BC-823CC4BEDDF7}"/>
          </ac:spMkLst>
        </pc:spChg>
        <pc:spChg chg="mod ord">
          <ac:chgData name="Polanco Zanetta, Sebastian" userId="679afde1-f2ca-45a1-83ca-bc48414eb788" providerId="ADAL" clId="{7F2DE69D-8C9F-4CB1-8222-8CA7389F170C}" dt="2025-05-02T21:05:50.452" v="13343"/>
          <ac:spMkLst>
            <pc:docMk/>
            <pc:sldMk cId="1760513304" sldId="4466"/>
            <ac:spMk id="38" creationId="{6CBA2249-020F-54D5-FB27-C89C12EA7F5A}"/>
          </ac:spMkLst>
        </pc:spChg>
        <pc:spChg chg="mod ord">
          <ac:chgData name="Polanco Zanetta, Sebastian" userId="679afde1-f2ca-45a1-83ca-bc48414eb788" providerId="ADAL" clId="{7F2DE69D-8C9F-4CB1-8222-8CA7389F170C}" dt="2025-05-02T21:05:50.452" v="13345"/>
          <ac:spMkLst>
            <pc:docMk/>
            <pc:sldMk cId="1760513304" sldId="4466"/>
            <ac:spMk id="39" creationId="{D9DB4E9F-D54A-D737-7929-0FCBA6BE8CEB}"/>
          </ac:spMkLst>
        </pc:spChg>
        <pc:spChg chg="mod ord">
          <ac:chgData name="Polanco Zanetta, Sebastian" userId="679afde1-f2ca-45a1-83ca-bc48414eb788" providerId="ADAL" clId="{7F2DE69D-8C9F-4CB1-8222-8CA7389F170C}" dt="2025-05-02T21:05:50.452" v="13347"/>
          <ac:spMkLst>
            <pc:docMk/>
            <pc:sldMk cId="1760513304" sldId="4466"/>
            <ac:spMk id="40" creationId="{D5D6E826-E0D3-8418-D2D1-609C11BC78EB}"/>
          </ac:spMkLst>
        </pc:spChg>
        <pc:spChg chg="mod ord">
          <ac:chgData name="Polanco Zanetta, Sebastian" userId="679afde1-f2ca-45a1-83ca-bc48414eb788" providerId="ADAL" clId="{7F2DE69D-8C9F-4CB1-8222-8CA7389F170C}" dt="2025-05-02T21:05:50.452" v="13349"/>
          <ac:spMkLst>
            <pc:docMk/>
            <pc:sldMk cId="1760513304" sldId="4466"/>
            <ac:spMk id="41" creationId="{F6E4B8B5-A645-9A31-FCFB-E59029D28D4C}"/>
          </ac:spMkLst>
        </pc:spChg>
        <pc:spChg chg="mod ord">
          <ac:chgData name="Polanco Zanetta, Sebastian" userId="679afde1-f2ca-45a1-83ca-bc48414eb788" providerId="ADAL" clId="{7F2DE69D-8C9F-4CB1-8222-8CA7389F170C}" dt="2025-05-02T21:05:50.452" v="13351"/>
          <ac:spMkLst>
            <pc:docMk/>
            <pc:sldMk cId="1760513304" sldId="4466"/>
            <ac:spMk id="42" creationId="{190CD982-3032-FA49-360B-1BD57D45BD2E}"/>
          </ac:spMkLst>
        </pc:spChg>
        <pc:spChg chg="mod ord">
          <ac:chgData name="Polanco Zanetta, Sebastian" userId="679afde1-f2ca-45a1-83ca-bc48414eb788" providerId="ADAL" clId="{7F2DE69D-8C9F-4CB1-8222-8CA7389F170C}" dt="2025-05-02T21:05:50.452" v="13353"/>
          <ac:spMkLst>
            <pc:docMk/>
            <pc:sldMk cId="1760513304" sldId="4466"/>
            <ac:spMk id="43" creationId="{C3933C73-95CB-1311-7A7E-A0926049745A}"/>
          </ac:spMkLst>
        </pc:spChg>
        <pc:spChg chg="mod ord">
          <ac:chgData name="Polanco Zanetta, Sebastian" userId="679afde1-f2ca-45a1-83ca-bc48414eb788" providerId="ADAL" clId="{7F2DE69D-8C9F-4CB1-8222-8CA7389F170C}" dt="2025-05-02T21:05:50.468" v="13355"/>
          <ac:spMkLst>
            <pc:docMk/>
            <pc:sldMk cId="1760513304" sldId="4466"/>
            <ac:spMk id="44" creationId="{6BDB48A2-1F73-941B-0E25-5658015278EF}"/>
          </ac:spMkLst>
        </pc:spChg>
        <pc:spChg chg="mod">
          <ac:chgData name="Polanco Zanetta, Sebastian" userId="679afde1-f2ca-45a1-83ca-bc48414eb788" providerId="ADAL" clId="{7F2DE69D-8C9F-4CB1-8222-8CA7389F170C}" dt="2025-05-02T21:05:50.468" v="13356"/>
          <ac:spMkLst>
            <pc:docMk/>
            <pc:sldMk cId="1760513304" sldId="4466"/>
            <ac:spMk id="45" creationId="{8C65319F-1504-A4AA-9DF6-83063ED8FA24}"/>
          </ac:spMkLst>
        </pc:spChg>
        <pc:spChg chg="mod">
          <ac:chgData name="Polanco Zanetta, Sebastian" userId="679afde1-f2ca-45a1-83ca-bc48414eb788" providerId="ADAL" clId="{7F2DE69D-8C9F-4CB1-8222-8CA7389F170C}" dt="2025-05-02T21:09:37.566" v="13457"/>
          <ac:spMkLst>
            <pc:docMk/>
            <pc:sldMk cId="1760513304" sldId="4466"/>
            <ac:spMk id="47" creationId="{190E0BD8-E456-B19D-EA46-561B0AE56E50}"/>
          </ac:spMkLst>
        </pc:spChg>
        <pc:spChg chg="mod">
          <ac:chgData name="Polanco Zanetta, Sebastian" userId="679afde1-f2ca-45a1-83ca-bc48414eb788" providerId="ADAL" clId="{7F2DE69D-8C9F-4CB1-8222-8CA7389F170C}" dt="2025-05-02T21:09:37.566" v="13457"/>
          <ac:spMkLst>
            <pc:docMk/>
            <pc:sldMk cId="1760513304" sldId="4466"/>
            <ac:spMk id="50" creationId="{6FAFC467-3DBE-39D3-2A05-82BC4B9C60EA}"/>
          </ac:spMkLst>
        </pc:spChg>
        <pc:spChg chg="mod">
          <ac:chgData name="Polanco Zanetta, Sebastian" userId="679afde1-f2ca-45a1-83ca-bc48414eb788" providerId="ADAL" clId="{7F2DE69D-8C9F-4CB1-8222-8CA7389F170C}" dt="2025-05-02T21:09:37.566" v="13457"/>
          <ac:spMkLst>
            <pc:docMk/>
            <pc:sldMk cId="1760513304" sldId="4466"/>
            <ac:spMk id="51" creationId="{EA2CE2BD-B485-5775-FE95-A8F523DAA5E6}"/>
          </ac:spMkLst>
        </pc:spChg>
        <pc:spChg chg="mod">
          <ac:chgData name="Polanco Zanetta, Sebastian" userId="679afde1-f2ca-45a1-83ca-bc48414eb788" providerId="ADAL" clId="{7F2DE69D-8C9F-4CB1-8222-8CA7389F170C}" dt="2025-05-02T21:05:50.468" v="13366"/>
          <ac:spMkLst>
            <pc:docMk/>
            <pc:sldMk cId="1760513304" sldId="4466"/>
            <ac:spMk id="52" creationId="{E8C236AA-360D-3578-8A8C-23EA749E988E}"/>
          </ac:spMkLst>
        </pc:spChg>
        <pc:spChg chg="mod">
          <ac:chgData name="Polanco Zanetta, Sebastian" userId="679afde1-f2ca-45a1-83ca-bc48414eb788" providerId="ADAL" clId="{7F2DE69D-8C9F-4CB1-8222-8CA7389F170C}" dt="2025-05-02T21:09:37.566" v="13457"/>
          <ac:spMkLst>
            <pc:docMk/>
            <pc:sldMk cId="1760513304" sldId="4466"/>
            <ac:spMk id="53" creationId="{0930C043-C403-DA17-39F3-40E7708B00A3}"/>
          </ac:spMkLst>
        </pc:spChg>
        <pc:spChg chg="mod">
          <ac:chgData name="Polanco Zanetta, Sebastian" userId="679afde1-f2ca-45a1-83ca-bc48414eb788" providerId="ADAL" clId="{7F2DE69D-8C9F-4CB1-8222-8CA7389F170C}" dt="2025-05-02T21:09:37.566" v="13457"/>
          <ac:spMkLst>
            <pc:docMk/>
            <pc:sldMk cId="1760513304" sldId="4466"/>
            <ac:spMk id="54" creationId="{29E53A45-9CC3-79E9-C9F4-176B68041D40}"/>
          </ac:spMkLst>
        </pc:spChg>
        <pc:spChg chg="mod">
          <ac:chgData name="Polanco Zanetta, Sebastian" userId="679afde1-f2ca-45a1-83ca-bc48414eb788" providerId="ADAL" clId="{7F2DE69D-8C9F-4CB1-8222-8CA7389F170C}" dt="2025-05-02T21:09:37.566" v="13457"/>
          <ac:spMkLst>
            <pc:docMk/>
            <pc:sldMk cId="1760513304" sldId="4466"/>
            <ac:spMk id="55" creationId="{1E867E73-0862-F1B5-FEF0-9F6F118F16DC}"/>
          </ac:spMkLst>
        </pc:spChg>
        <pc:spChg chg="mod ord">
          <ac:chgData name="Polanco Zanetta, Sebastian" userId="679afde1-f2ca-45a1-83ca-bc48414eb788" providerId="ADAL" clId="{7F2DE69D-8C9F-4CB1-8222-8CA7389F170C}" dt="2025-05-02T21:09:37.566" v="13457"/>
          <ac:spMkLst>
            <pc:docMk/>
            <pc:sldMk cId="1760513304" sldId="4466"/>
            <ac:spMk id="57" creationId="{B77D1674-79FC-8311-A857-D1E5F84DFB98}"/>
          </ac:spMkLst>
        </pc:spChg>
        <pc:graphicFrameChg chg="mod">
          <ac:chgData name="Polanco Zanetta, Sebastian" userId="679afde1-f2ca-45a1-83ca-bc48414eb788" providerId="ADAL" clId="{7F2DE69D-8C9F-4CB1-8222-8CA7389F170C}" dt="2025-05-02T21:05:50.474" v="13383"/>
          <ac:graphicFrameMkLst>
            <pc:docMk/>
            <pc:sldMk cId="1760513304" sldId="4466"/>
            <ac:graphicFrameMk id="7" creationId="{D6671726-3BCD-F3FA-F071-A4A61FC92580}"/>
          </ac:graphicFrameMkLst>
        </pc:graphicFrameChg>
        <pc:graphicFrameChg chg="add mod">
          <ac:chgData name="Polanco Zanetta, Sebastian" userId="679afde1-f2ca-45a1-83ca-bc48414eb788" providerId="ADAL" clId="{7F2DE69D-8C9F-4CB1-8222-8CA7389F170C}" dt="2025-05-02T21:05:50.452" v="13304"/>
          <ac:graphicFrameMkLst>
            <pc:docMk/>
            <pc:sldMk cId="1760513304" sldId="4466"/>
            <ac:graphicFrameMk id="36" creationId="{6C2A0A7B-49AE-59F9-1E22-2A8C66FB04C8}"/>
          </ac:graphicFrameMkLst>
        </pc:graphicFrameChg>
        <pc:picChg chg="mod ord">
          <ac:chgData name="Polanco Zanetta, Sebastian" userId="679afde1-f2ca-45a1-83ca-bc48414eb788" providerId="ADAL" clId="{7F2DE69D-8C9F-4CB1-8222-8CA7389F170C}" dt="2025-05-02T21:05:50.452" v="13325"/>
          <ac:picMkLst>
            <pc:docMk/>
            <pc:sldMk cId="1760513304" sldId="4466"/>
            <ac:picMk id="25" creationId="{0CE1485D-BEA2-1CCC-3994-99208FBDE79B}"/>
          </ac:picMkLst>
        </pc:picChg>
        <pc:picChg chg="mod ord">
          <ac:chgData name="Polanco Zanetta, Sebastian" userId="679afde1-f2ca-45a1-83ca-bc48414eb788" providerId="ADAL" clId="{7F2DE69D-8C9F-4CB1-8222-8CA7389F170C}" dt="2025-05-02T21:05:50.452" v="13327"/>
          <ac:picMkLst>
            <pc:docMk/>
            <pc:sldMk cId="1760513304" sldId="4466"/>
            <ac:picMk id="26" creationId="{F69F793D-52A0-FAF8-5ACA-8FEBDDB43BE5}"/>
          </ac:picMkLst>
        </pc:picChg>
        <pc:picChg chg="mod ord">
          <ac:chgData name="Polanco Zanetta, Sebastian" userId="679afde1-f2ca-45a1-83ca-bc48414eb788" providerId="ADAL" clId="{7F2DE69D-8C9F-4CB1-8222-8CA7389F170C}" dt="2025-05-02T21:05:50.452" v="13329"/>
          <ac:picMkLst>
            <pc:docMk/>
            <pc:sldMk cId="1760513304" sldId="4466"/>
            <ac:picMk id="27" creationId="{48758308-3B80-D38E-70A1-553F60304E4E}"/>
          </ac:picMkLst>
        </pc:picChg>
        <pc:picChg chg="mod ord">
          <ac:chgData name="Polanco Zanetta, Sebastian" userId="679afde1-f2ca-45a1-83ca-bc48414eb788" providerId="ADAL" clId="{7F2DE69D-8C9F-4CB1-8222-8CA7389F170C}" dt="2025-05-02T21:05:50.452" v="13339"/>
          <ac:picMkLst>
            <pc:docMk/>
            <pc:sldMk cId="1760513304" sldId="4466"/>
            <ac:picMk id="32" creationId="{AF7D8118-2D9E-5A63-96EB-2475C79AF496}"/>
          </ac:picMkLst>
        </pc:picChg>
        <pc:picChg chg="mod ord">
          <ac:chgData name="Polanco Zanetta, Sebastian" userId="679afde1-f2ca-45a1-83ca-bc48414eb788" providerId="ADAL" clId="{7F2DE69D-8C9F-4CB1-8222-8CA7389F170C}" dt="2025-05-02T21:05:50.468" v="13358"/>
          <ac:picMkLst>
            <pc:docMk/>
            <pc:sldMk cId="1760513304" sldId="4466"/>
            <ac:picMk id="46" creationId="{AEA66CA1-0CE2-AA53-94CB-E6AB27B6A7A0}"/>
          </ac:picMkLst>
        </pc:picChg>
        <pc:picChg chg="mod ord">
          <ac:chgData name="Polanco Zanetta, Sebastian" userId="679afde1-f2ca-45a1-83ca-bc48414eb788" providerId="ADAL" clId="{7F2DE69D-8C9F-4CB1-8222-8CA7389F170C}" dt="2025-05-02T21:05:50.468" v="13361"/>
          <ac:picMkLst>
            <pc:docMk/>
            <pc:sldMk cId="1760513304" sldId="4466"/>
            <ac:picMk id="48" creationId="{BC1DFDF6-871A-9428-E2D1-1E0CE6FDA023}"/>
          </ac:picMkLst>
        </pc:picChg>
        <pc:picChg chg="mod ord">
          <ac:chgData name="Polanco Zanetta, Sebastian" userId="679afde1-f2ca-45a1-83ca-bc48414eb788" providerId="ADAL" clId="{7F2DE69D-8C9F-4CB1-8222-8CA7389F170C}" dt="2025-05-02T21:05:50.468" v="13363"/>
          <ac:picMkLst>
            <pc:docMk/>
            <pc:sldMk cId="1760513304" sldId="4466"/>
            <ac:picMk id="49" creationId="{AB3CE6F8-2030-56C5-C152-38956353BE7F}"/>
          </ac:picMkLst>
        </pc:picChg>
        <pc:picChg chg="mod ord">
          <ac:chgData name="Polanco Zanetta, Sebastian" userId="679afde1-f2ca-45a1-83ca-bc48414eb788" providerId="ADAL" clId="{7F2DE69D-8C9F-4CB1-8222-8CA7389F170C}" dt="2025-05-02T21:05:50.468" v="13373"/>
          <ac:picMkLst>
            <pc:docMk/>
            <pc:sldMk cId="1760513304" sldId="4466"/>
            <ac:picMk id="59" creationId="{CFDA125E-3C80-A721-01E5-5427B25C68CE}"/>
          </ac:picMkLst>
        </pc:picChg>
        <pc:cxnChg chg="mod ord">
          <ac:chgData name="Polanco Zanetta, Sebastian" userId="679afde1-f2ca-45a1-83ca-bc48414eb788" providerId="ADAL" clId="{7F2DE69D-8C9F-4CB1-8222-8CA7389F170C}" dt="2025-05-02T21:05:50.452" v="13331"/>
          <ac:cxnSpMkLst>
            <pc:docMk/>
            <pc:sldMk cId="1760513304" sldId="4466"/>
            <ac:cxnSpMk id="28" creationId="{7B9BA542-7FCF-A6FE-7E00-D290571E028B}"/>
          </ac:cxnSpMkLst>
        </pc:cxnChg>
      </pc:sldChg>
      <pc:sldChg chg="addSp delSp modSp mod">
        <pc:chgData name="Polanco Zanetta, Sebastian" userId="679afde1-f2ca-45a1-83ca-bc48414eb788" providerId="ADAL" clId="{7F2DE69D-8C9F-4CB1-8222-8CA7389F170C}" dt="2025-05-08T04:57:25.526" v="18028" actId="20577"/>
        <pc:sldMkLst>
          <pc:docMk/>
          <pc:sldMk cId="3110330266" sldId="4467"/>
        </pc:sldMkLst>
        <pc:spChg chg="mod ord">
          <ac:chgData name="Polanco Zanetta, Sebastian" userId="679afde1-f2ca-45a1-83ca-bc48414eb788" providerId="ADAL" clId="{7F2DE69D-8C9F-4CB1-8222-8CA7389F170C}" dt="2025-05-02T21:09:37.566" v="13457"/>
          <ac:spMkLst>
            <pc:docMk/>
            <pc:sldMk cId="3110330266" sldId="4467"/>
            <ac:spMk id="2" creationId="{602AB1BD-0A58-4EAE-AC3D-2B6E9C5C9855}"/>
          </ac:spMkLst>
        </pc:spChg>
        <pc:spChg chg="mod ord">
          <ac:chgData name="Polanco Zanetta, Sebastian" userId="679afde1-f2ca-45a1-83ca-bc48414eb788" providerId="ADAL" clId="{7F2DE69D-8C9F-4CB1-8222-8CA7389F170C}" dt="2025-05-02T20:51:45.367" v="8942"/>
          <ac:spMkLst>
            <pc:docMk/>
            <pc:sldMk cId="3110330266" sldId="4467"/>
            <ac:spMk id="4" creationId="{E5154449-25E0-EDC1-F176-11A18205EC36}"/>
          </ac:spMkLst>
        </pc:spChg>
        <pc:spChg chg="mod ord">
          <ac:chgData name="Polanco Zanetta, Sebastian" userId="679afde1-f2ca-45a1-83ca-bc48414eb788" providerId="ADAL" clId="{7F2DE69D-8C9F-4CB1-8222-8CA7389F170C}" dt="2025-05-02T20:54:15.147" v="9081" actId="20577"/>
          <ac:spMkLst>
            <pc:docMk/>
            <pc:sldMk cId="3110330266" sldId="4467"/>
            <ac:spMk id="5" creationId="{C437BF02-472D-CCD6-FD5A-E3D7F54EAB8E}"/>
          </ac:spMkLst>
        </pc:spChg>
        <pc:spChg chg="add mod">
          <ac:chgData name="Polanco Zanetta, Sebastian" userId="679afde1-f2ca-45a1-83ca-bc48414eb788" providerId="ADAL" clId="{7F2DE69D-8C9F-4CB1-8222-8CA7389F170C}" dt="2025-05-07T16:57:18.648" v="17925"/>
          <ac:spMkLst>
            <pc:docMk/>
            <pc:sldMk cId="3110330266" sldId="4467"/>
            <ac:spMk id="6" creationId="{DB0C0F2C-48BA-ED4B-F749-26BBBFED4099}"/>
          </ac:spMkLst>
        </pc:spChg>
        <pc:spChg chg="mod">
          <ac:chgData name="Polanco Zanetta, Sebastian" userId="679afde1-f2ca-45a1-83ca-bc48414eb788" providerId="ADAL" clId="{7F2DE69D-8C9F-4CB1-8222-8CA7389F170C}" dt="2025-05-02T20:51:45.367" v="8925"/>
          <ac:spMkLst>
            <pc:docMk/>
            <pc:sldMk cId="3110330266" sldId="4467"/>
            <ac:spMk id="13" creationId="{E1155BB1-9302-DCB7-58D8-3733BC839F4F}"/>
          </ac:spMkLst>
        </pc:spChg>
        <pc:spChg chg="add mod">
          <ac:chgData name="Polanco Zanetta, Sebastian" userId="679afde1-f2ca-45a1-83ca-bc48414eb788" providerId="ADAL" clId="{7F2DE69D-8C9F-4CB1-8222-8CA7389F170C}" dt="2025-05-02T20:51:45.367" v="8944"/>
          <ac:spMkLst>
            <pc:docMk/>
            <pc:sldMk cId="3110330266" sldId="4467"/>
            <ac:spMk id="21" creationId="{7E48156E-6A95-A64B-8520-CD11DA6C5EEF}"/>
          </ac:spMkLst>
        </pc:spChg>
        <pc:spChg chg="mod">
          <ac:chgData name="Polanco Zanetta, Sebastian" userId="679afde1-f2ca-45a1-83ca-bc48414eb788" providerId="ADAL" clId="{7F2DE69D-8C9F-4CB1-8222-8CA7389F170C}" dt="2025-05-08T04:57:25.526" v="18028" actId="20577"/>
          <ac:spMkLst>
            <pc:docMk/>
            <pc:sldMk cId="3110330266" sldId="4467"/>
            <ac:spMk id="23" creationId="{8742FF55-FD65-1954-FE38-F21382267185}"/>
          </ac:spMkLst>
        </pc:spChg>
        <pc:spChg chg="mod">
          <ac:chgData name="Polanco Zanetta, Sebastian" userId="679afde1-f2ca-45a1-83ca-bc48414eb788" providerId="ADAL" clId="{7F2DE69D-8C9F-4CB1-8222-8CA7389F170C}" dt="2025-05-02T21:09:37.566" v="13457"/>
          <ac:spMkLst>
            <pc:docMk/>
            <pc:sldMk cId="3110330266" sldId="4467"/>
            <ac:spMk id="26" creationId="{4635E341-ED4B-9C56-5C8D-CFDBF0D95231}"/>
          </ac:spMkLst>
        </pc:spChg>
        <pc:spChg chg="mod ord">
          <ac:chgData name="Polanco Zanetta, Sebastian" userId="679afde1-f2ca-45a1-83ca-bc48414eb788" providerId="ADAL" clId="{7F2DE69D-8C9F-4CB1-8222-8CA7389F170C}" dt="2025-05-02T21:09:37.566" v="13457"/>
          <ac:spMkLst>
            <pc:docMk/>
            <pc:sldMk cId="3110330266" sldId="4467"/>
            <ac:spMk id="27" creationId="{FB15255C-BF7C-EE6C-30A8-862C725475F8}"/>
          </ac:spMkLst>
        </pc:spChg>
        <pc:spChg chg="add mod">
          <ac:chgData name="Polanco Zanetta, Sebastian" userId="679afde1-f2ca-45a1-83ca-bc48414eb788" providerId="ADAL" clId="{7F2DE69D-8C9F-4CB1-8222-8CA7389F170C}" dt="2025-05-02T20:51:45.367" v="8945"/>
          <ac:spMkLst>
            <pc:docMk/>
            <pc:sldMk cId="3110330266" sldId="4467"/>
            <ac:spMk id="28" creationId="{7E48156E-6A95-A64B-8520-CD11DA6C5EEF}"/>
          </ac:spMkLst>
        </pc:spChg>
        <pc:spChg chg="add mod">
          <ac:chgData name="Polanco Zanetta, Sebastian" userId="679afde1-f2ca-45a1-83ca-bc48414eb788" providerId="ADAL" clId="{7F2DE69D-8C9F-4CB1-8222-8CA7389F170C}" dt="2025-05-02T20:51:45.367" v="8946"/>
          <ac:spMkLst>
            <pc:docMk/>
            <pc:sldMk cId="3110330266" sldId="4467"/>
            <ac:spMk id="29" creationId="{7E48156E-6A95-A64B-8520-CD11DA6C5EEF}"/>
          </ac:spMkLst>
        </pc:spChg>
        <pc:spChg chg="add mod">
          <ac:chgData name="Polanco Zanetta, Sebastian" userId="679afde1-f2ca-45a1-83ca-bc48414eb788" providerId="ADAL" clId="{7F2DE69D-8C9F-4CB1-8222-8CA7389F170C}" dt="2025-05-02T20:51:45.367" v="8947"/>
          <ac:spMkLst>
            <pc:docMk/>
            <pc:sldMk cId="3110330266" sldId="4467"/>
            <ac:spMk id="32" creationId="{7E48156E-6A95-A64B-8520-CD11DA6C5EEF}"/>
          </ac:spMkLst>
        </pc:spChg>
        <pc:spChg chg="add mod">
          <ac:chgData name="Polanco Zanetta, Sebastian" userId="679afde1-f2ca-45a1-83ca-bc48414eb788" providerId="ADAL" clId="{7F2DE69D-8C9F-4CB1-8222-8CA7389F170C}" dt="2025-05-02T20:51:45.367" v="8948"/>
          <ac:spMkLst>
            <pc:docMk/>
            <pc:sldMk cId="3110330266" sldId="4467"/>
            <ac:spMk id="35" creationId="{7E48156E-6A95-A64B-8520-CD11DA6C5EEF}"/>
          </ac:spMkLst>
        </pc:spChg>
        <pc:spChg chg="add mod">
          <ac:chgData name="Polanco Zanetta, Sebastian" userId="679afde1-f2ca-45a1-83ca-bc48414eb788" providerId="ADAL" clId="{7F2DE69D-8C9F-4CB1-8222-8CA7389F170C}" dt="2025-05-02T20:51:45.367" v="8949"/>
          <ac:spMkLst>
            <pc:docMk/>
            <pc:sldMk cId="3110330266" sldId="4467"/>
            <ac:spMk id="55" creationId="{7E48156E-6A95-A64B-8520-CD11DA6C5EEF}"/>
          </ac:spMkLst>
        </pc:spChg>
        <pc:spChg chg="mod ord">
          <ac:chgData name="Polanco Zanetta, Sebastian" userId="679afde1-f2ca-45a1-83ca-bc48414eb788" providerId="ADAL" clId="{7F2DE69D-8C9F-4CB1-8222-8CA7389F170C}" dt="2025-05-02T20:56:00.277" v="9139" actId="1076"/>
          <ac:spMkLst>
            <pc:docMk/>
            <pc:sldMk cId="3110330266" sldId="4467"/>
            <ac:spMk id="58" creationId="{6F4F8E82-EF92-5563-A2E2-C18B322EA4CD}"/>
          </ac:spMkLst>
        </pc:spChg>
        <pc:spChg chg="mod ord">
          <ac:chgData name="Polanco Zanetta, Sebastian" userId="679afde1-f2ca-45a1-83ca-bc48414eb788" providerId="ADAL" clId="{7F2DE69D-8C9F-4CB1-8222-8CA7389F170C}" dt="2025-05-02T20:51:45.367" v="8922"/>
          <ac:spMkLst>
            <pc:docMk/>
            <pc:sldMk cId="3110330266" sldId="4467"/>
            <ac:spMk id="60" creationId="{B54F7647-63BA-1BD8-2528-0A46738ADBD8}"/>
          </ac:spMkLst>
        </pc:spChg>
        <pc:spChg chg="add mod">
          <ac:chgData name="Polanco Zanetta, Sebastian" userId="679afde1-f2ca-45a1-83ca-bc48414eb788" providerId="ADAL" clId="{7F2DE69D-8C9F-4CB1-8222-8CA7389F170C}" dt="2025-05-02T20:51:45.367" v="8950"/>
          <ac:spMkLst>
            <pc:docMk/>
            <pc:sldMk cId="3110330266" sldId="4467"/>
            <ac:spMk id="63" creationId="{7E48156E-6A95-A64B-8520-CD11DA6C5EEF}"/>
          </ac:spMkLst>
        </pc:spChg>
        <pc:spChg chg="add mod">
          <ac:chgData name="Polanco Zanetta, Sebastian" userId="679afde1-f2ca-45a1-83ca-bc48414eb788" providerId="ADAL" clId="{7F2DE69D-8C9F-4CB1-8222-8CA7389F170C}" dt="2025-05-02T20:51:45.367" v="8951"/>
          <ac:spMkLst>
            <pc:docMk/>
            <pc:sldMk cId="3110330266" sldId="4467"/>
            <ac:spMk id="74" creationId="{7E48156E-6A95-A64B-8520-CD11DA6C5EEF}"/>
          </ac:spMkLst>
        </pc:spChg>
        <pc:spChg chg="add mod">
          <ac:chgData name="Polanco Zanetta, Sebastian" userId="679afde1-f2ca-45a1-83ca-bc48414eb788" providerId="ADAL" clId="{7F2DE69D-8C9F-4CB1-8222-8CA7389F170C}" dt="2025-05-02T20:51:45.367" v="8952"/>
          <ac:spMkLst>
            <pc:docMk/>
            <pc:sldMk cId="3110330266" sldId="4467"/>
            <ac:spMk id="75" creationId="{7E48156E-6A95-A64B-8520-CD11DA6C5EEF}"/>
          </ac:spMkLst>
        </pc:spChg>
        <pc:spChg chg="add mod">
          <ac:chgData name="Polanco Zanetta, Sebastian" userId="679afde1-f2ca-45a1-83ca-bc48414eb788" providerId="ADAL" clId="{7F2DE69D-8C9F-4CB1-8222-8CA7389F170C}" dt="2025-05-02T20:51:45.367" v="8953"/>
          <ac:spMkLst>
            <pc:docMk/>
            <pc:sldMk cId="3110330266" sldId="4467"/>
            <ac:spMk id="76" creationId="{7E48156E-6A95-A64B-8520-CD11DA6C5EEF}"/>
          </ac:spMkLst>
        </pc:spChg>
        <pc:grpChg chg="mod ord">
          <ac:chgData name="Polanco Zanetta, Sebastian" userId="679afde1-f2ca-45a1-83ca-bc48414eb788" providerId="ADAL" clId="{7F2DE69D-8C9F-4CB1-8222-8CA7389F170C}" dt="2025-05-02T20:51:45.367" v="8931"/>
          <ac:grpSpMkLst>
            <pc:docMk/>
            <pc:sldMk cId="3110330266" sldId="4467"/>
            <ac:grpSpMk id="9" creationId="{832F538D-AA3A-FB72-21E9-4F10EBE34DA5}"/>
          </ac:grpSpMkLst>
        </pc:grpChg>
        <pc:grpChg chg="mod ord">
          <ac:chgData name="Polanco Zanetta, Sebastian" userId="679afde1-f2ca-45a1-83ca-bc48414eb788" providerId="ADAL" clId="{7F2DE69D-8C9F-4CB1-8222-8CA7389F170C}" dt="2025-05-02T20:51:45.367" v="8933"/>
          <ac:grpSpMkLst>
            <pc:docMk/>
            <pc:sldMk cId="3110330266" sldId="4467"/>
            <ac:grpSpMk id="24" creationId="{25C6908D-AB11-799C-72CB-AFA3EF6E7FDC}"/>
          </ac:grpSpMkLst>
        </pc:grpChg>
        <pc:graphicFrameChg chg="mod">
          <ac:chgData name="Polanco Zanetta, Sebastian" userId="679afde1-f2ca-45a1-83ca-bc48414eb788" providerId="ADAL" clId="{7F2DE69D-8C9F-4CB1-8222-8CA7389F170C}" dt="2025-05-02T20:51:45.367" v="8957"/>
          <ac:graphicFrameMkLst>
            <pc:docMk/>
            <pc:sldMk cId="3110330266" sldId="4467"/>
            <ac:graphicFrameMk id="7" creationId="{D6671726-3BCD-F3FA-F071-A4A61FC92580}"/>
          </ac:graphicFrameMkLst>
        </pc:graphicFrameChg>
        <pc:graphicFrameChg chg="add mod">
          <ac:chgData name="Polanco Zanetta, Sebastian" userId="679afde1-f2ca-45a1-83ca-bc48414eb788" providerId="ADAL" clId="{7F2DE69D-8C9F-4CB1-8222-8CA7389F170C}" dt="2025-05-02T20:51:45.367" v="8943"/>
          <ac:graphicFrameMkLst>
            <pc:docMk/>
            <pc:sldMk cId="3110330266" sldId="4467"/>
            <ac:graphicFrameMk id="95" creationId="{57F01F48-7DE2-942F-7033-30FD15D607E7}"/>
          </ac:graphicFrameMkLst>
        </pc:graphicFrameChg>
        <pc:graphicFrameChg chg="add mod">
          <ac:chgData name="Polanco Zanetta, Sebastian" userId="679afde1-f2ca-45a1-83ca-bc48414eb788" providerId="ADAL" clId="{7F2DE69D-8C9F-4CB1-8222-8CA7389F170C}" dt="2025-05-02T20:55:22.396" v="9105"/>
          <ac:graphicFrameMkLst>
            <pc:docMk/>
            <pc:sldMk cId="3110330266" sldId="4467"/>
            <ac:graphicFrameMk id="97" creationId="{2E54216B-1323-4545-B603-F537478D2283}"/>
          </ac:graphicFrameMkLst>
        </pc:graphicFrameChg>
        <pc:picChg chg="mod ord">
          <ac:chgData name="Polanco Zanetta, Sebastian" userId="679afde1-f2ca-45a1-83ca-bc48414eb788" providerId="ADAL" clId="{7F2DE69D-8C9F-4CB1-8222-8CA7389F170C}" dt="2025-05-02T20:51:45.367" v="8924"/>
          <ac:picMkLst>
            <pc:docMk/>
            <pc:sldMk cId="3110330266" sldId="4467"/>
            <ac:picMk id="48" creationId="{FB1E5F11-58F6-DCB3-1179-FB34140E407C}"/>
          </ac:picMkLst>
        </pc:picChg>
      </pc:sldChg>
      <pc:sldChg chg="addSp modSp mod">
        <pc:chgData name="Polanco Zanetta, Sebastian" userId="679afde1-f2ca-45a1-83ca-bc48414eb788" providerId="ADAL" clId="{7F2DE69D-8C9F-4CB1-8222-8CA7389F170C}" dt="2025-05-08T05:00:09.419" v="18090" actId="20577"/>
        <pc:sldMkLst>
          <pc:docMk/>
          <pc:sldMk cId="454047127" sldId="4468"/>
        </pc:sldMkLst>
        <pc:spChg chg="add mod">
          <ac:chgData name="Polanco Zanetta, Sebastian" userId="679afde1-f2ca-45a1-83ca-bc48414eb788" providerId="ADAL" clId="{7F2DE69D-8C9F-4CB1-8222-8CA7389F170C}" dt="2025-05-03T00:28:27.814" v="16918" actId="14100"/>
          <ac:spMkLst>
            <pc:docMk/>
            <pc:sldMk cId="454047127" sldId="4468"/>
            <ac:spMk id="3" creationId="{AA82B76B-F632-E645-B8D0-5113BC6B5E68}"/>
          </ac:spMkLst>
        </pc:spChg>
        <pc:spChg chg="mod">
          <ac:chgData name="Polanco Zanetta, Sebastian" userId="679afde1-f2ca-45a1-83ca-bc48414eb788" providerId="ADAL" clId="{7F2DE69D-8C9F-4CB1-8222-8CA7389F170C}" dt="2025-05-03T00:25:31.906" v="16833" actId="122"/>
          <ac:spMkLst>
            <pc:docMk/>
            <pc:sldMk cId="454047127" sldId="4468"/>
            <ac:spMk id="4" creationId="{E5B27608-062D-7A6F-90E8-9ADCC6FF6C04}"/>
          </ac:spMkLst>
        </pc:spChg>
        <pc:spChg chg="mod">
          <ac:chgData name="Polanco Zanetta, Sebastian" userId="679afde1-f2ca-45a1-83ca-bc48414eb788" providerId="ADAL" clId="{7F2DE69D-8C9F-4CB1-8222-8CA7389F170C}" dt="2025-05-08T05:00:09.419" v="18090" actId="20577"/>
          <ac:spMkLst>
            <pc:docMk/>
            <pc:sldMk cId="454047127" sldId="4468"/>
            <ac:spMk id="11" creationId="{E92AE28A-777F-896A-BCAC-FCED8386439F}"/>
          </ac:spMkLst>
        </pc:spChg>
        <pc:spChg chg="mod">
          <ac:chgData name="Polanco Zanetta, Sebastian" userId="679afde1-f2ca-45a1-83ca-bc48414eb788" providerId="ADAL" clId="{7F2DE69D-8C9F-4CB1-8222-8CA7389F170C}" dt="2025-05-02T21:09:37.566" v="13457"/>
          <ac:spMkLst>
            <pc:docMk/>
            <pc:sldMk cId="454047127" sldId="4468"/>
            <ac:spMk id="14" creationId="{DB67B596-3787-F3AE-CFB6-FB33342BDBEC}"/>
          </ac:spMkLst>
        </pc:spChg>
        <pc:graphicFrameChg chg="mod modGraphic">
          <ac:chgData name="Polanco Zanetta, Sebastian" userId="679afde1-f2ca-45a1-83ca-bc48414eb788" providerId="ADAL" clId="{7F2DE69D-8C9F-4CB1-8222-8CA7389F170C}" dt="2025-05-03T00:31:31.533" v="16934"/>
          <ac:graphicFrameMkLst>
            <pc:docMk/>
            <pc:sldMk cId="454047127" sldId="4468"/>
            <ac:graphicFrameMk id="5" creationId="{F581023C-8B4E-FB7D-341A-8A77AB816E7C}"/>
          </ac:graphicFrameMkLst>
        </pc:graphicFrameChg>
        <pc:graphicFrameChg chg="mod modGraphic">
          <ac:chgData name="Polanco Zanetta, Sebastian" userId="679afde1-f2ca-45a1-83ca-bc48414eb788" providerId="ADAL" clId="{7F2DE69D-8C9F-4CB1-8222-8CA7389F170C}" dt="2025-05-03T00:31:08.758" v="16926"/>
          <ac:graphicFrameMkLst>
            <pc:docMk/>
            <pc:sldMk cId="454047127" sldId="4468"/>
            <ac:graphicFrameMk id="8" creationId="{764C3EB9-5203-F28D-F375-5E7CE67E08EB}"/>
          </ac:graphicFrameMkLst>
        </pc:graphicFrameChg>
      </pc:sldChg>
      <pc:sldChg chg="modSp mod">
        <pc:chgData name="Polanco Zanetta, Sebastian" userId="679afde1-f2ca-45a1-83ca-bc48414eb788" providerId="ADAL" clId="{7F2DE69D-8C9F-4CB1-8222-8CA7389F170C}" dt="2025-05-02T20:34:00.618" v="3208"/>
        <pc:sldMkLst>
          <pc:docMk/>
          <pc:sldMk cId="888517033" sldId="4474"/>
        </pc:sldMkLst>
        <pc:spChg chg="mod">
          <ac:chgData name="Polanco Zanetta, Sebastian" userId="679afde1-f2ca-45a1-83ca-bc48414eb788" providerId="ADAL" clId="{7F2DE69D-8C9F-4CB1-8222-8CA7389F170C}" dt="2025-05-02T20:34:00.618" v="3208"/>
          <ac:spMkLst>
            <pc:docMk/>
            <pc:sldMk cId="888517033" sldId="4474"/>
            <ac:spMk id="2" creationId="{6D56D71D-671E-6663-C561-E642B90F069F}"/>
          </ac:spMkLst>
        </pc:spChg>
      </pc:sldChg>
      <pc:sldChg chg="addSp delSp modSp mod">
        <pc:chgData name="Polanco Zanetta, Sebastian" userId="679afde1-f2ca-45a1-83ca-bc48414eb788" providerId="ADAL" clId="{7F2DE69D-8C9F-4CB1-8222-8CA7389F170C}" dt="2025-05-07T16:56:59.571" v="17922" actId="207"/>
        <pc:sldMkLst>
          <pc:docMk/>
          <pc:sldMk cId="1510593437" sldId="4475"/>
        </pc:sldMkLst>
        <pc:spChg chg="mod">
          <ac:chgData name="Polanco Zanetta, Sebastian" userId="679afde1-f2ca-45a1-83ca-bc48414eb788" providerId="ADAL" clId="{7F2DE69D-8C9F-4CB1-8222-8CA7389F170C}" dt="2025-05-02T21:09:37.566" v="13457"/>
          <ac:spMkLst>
            <pc:docMk/>
            <pc:sldMk cId="1510593437" sldId="4475"/>
            <ac:spMk id="2" creationId="{76291784-9BBB-13F1-13E5-F39696589623}"/>
          </ac:spMkLst>
        </pc:spChg>
        <pc:spChg chg="add mod">
          <ac:chgData name="Polanco Zanetta, Sebastian" userId="679afde1-f2ca-45a1-83ca-bc48414eb788" providerId="ADAL" clId="{7F2DE69D-8C9F-4CB1-8222-8CA7389F170C}" dt="2025-05-07T16:56:59.571" v="17922" actId="207"/>
          <ac:spMkLst>
            <pc:docMk/>
            <pc:sldMk cId="1510593437" sldId="4475"/>
            <ac:spMk id="3" creationId="{34638099-4EE2-9F82-3C07-492DC6D90F49}"/>
          </ac:spMkLst>
        </pc:spChg>
        <pc:spChg chg="mod">
          <ac:chgData name="Polanco Zanetta, Sebastian" userId="679afde1-f2ca-45a1-83ca-bc48414eb788" providerId="ADAL" clId="{7F2DE69D-8C9F-4CB1-8222-8CA7389F170C}" dt="2025-05-07T04:27:30.548" v="17841" actId="20577"/>
          <ac:spMkLst>
            <pc:docMk/>
            <pc:sldMk cId="1510593437" sldId="4475"/>
            <ac:spMk id="20" creationId="{04A01AA6-13EE-F435-C322-DB4EE87C3E97}"/>
          </ac:spMkLst>
        </pc:spChg>
        <pc:spChg chg="mod">
          <ac:chgData name="Polanco Zanetta, Sebastian" userId="679afde1-f2ca-45a1-83ca-bc48414eb788" providerId="ADAL" clId="{7F2DE69D-8C9F-4CB1-8222-8CA7389F170C}" dt="2025-05-02T20:31:35.854" v="3186"/>
          <ac:spMkLst>
            <pc:docMk/>
            <pc:sldMk cId="1510593437" sldId="4475"/>
            <ac:spMk id="22" creationId="{75F4C804-F2B5-1C08-EE59-E207740C573A}"/>
          </ac:spMkLst>
        </pc:spChg>
        <pc:spChg chg="mod">
          <ac:chgData name="Polanco Zanetta, Sebastian" userId="679afde1-f2ca-45a1-83ca-bc48414eb788" providerId="ADAL" clId="{7F2DE69D-8C9F-4CB1-8222-8CA7389F170C}" dt="2025-05-07T04:27:09.410" v="17813" actId="20577"/>
          <ac:spMkLst>
            <pc:docMk/>
            <pc:sldMk cId="1510593437" sldId="4475"/>
            <ac:spMk id="29" creationId="{1787D5C0-2941-5863-53D1-EFB9B72B089C}"/>
          </ac:spMkLst>
        </pc:spChg>
        <pc:spChg chg="mod">
          <ac:chgData name="Polanco Zanetta, Sebastian" userId="679afde1-f2ca-45a1-83ca-bc48414eb788" providerId="ADAL" clId="{7F2DE69D-8C9F-4CB1-8222-8CA7389F170C}" dt="2025-05-02T20:31:01.202" v="3184"/>
          <ac:spMkLst>
            <pc:docMk/>
            <pc:sldMk cId="1510593437" sldId="4475"/>
            <ac:spMk id="30" creationId="{39929EB1-FDF3-AFF4-B958-16671ABA7B3E}"/>
          </ac:spMkLst>
        </pc:spChg>
      </pc:sldChg>
      <pc:sldChg chg="addSp delSp modSp mod">
        <pc:chgData name="Polanco Zanetta, Sebastian" userId="679afde1-f2ca-45a1-83ca-bc48414eb788" providerId="ADAL" clId="{7F2DE69D-8C9F-4CB1-8222-8CA7389F170C}" dt="2025-05-07T16:56:50.438" v="17921"/>
        <pc:sldMkLst>
          <pc:docMk/>
          <pc:sldMk cId="2461718685" sldId="4478"/>
        </pc:sldMkLst>
      </pc:sldChg>
      <pc:sldChg chg="modSp mod">
        <pc:chgData name="Polanco Zanetta, Sebastian" userId="679afde1-f2ca-45a1-83ca-bc48414eb788" providerId="ADAL" clId="{7F2DE69D-8C9F-4CB1-8222-8CA7389F170C}" dt="2025-05-02T20:06:02.736" v="414" actId="20577"/>
        <pc:sldMkLst>
          <pc:docMk/>
          <pc:sldMk cId="2915255060" sldId="4481"/>
        </pc:sldMkLst>
        <pc:spChg chg="mod">
          <ac:chgData name="Polanco Zanetta, Sebastian" userId="679afde1-f2ca-45a1-83ca-bc48414eb788" providerId="ADAL" clId="{7F2DE69D-8C9F-4CB1-8222-8CA7389F170C}" dt="2025-05-02T20:06:02.736" v="414" actId="20577"/>
          <ac:spMkLst>
            <pc:docMk/>
            <pc:sldMk cId="2915255060" sldId="4481"/>
            <ac:spMk id="3" creationId="{D7E63524-DB77-6E00-2435-8EF3F011249E}"/>
          </ac:spMkLst>
        </pc:spChg>
      </pc:sldChg>
      <pc:sldChg chg="modSp mod">
        <pc:chgData name="Polanco Zanetta, Sebastian" userId="679afde1-f2ca-45a1-83ca-bc48414eb788" providerId="ADAL" clId="{7F2DE69D-8C9F-4CB1-8222-8CA7389F170C}" dt="2025-05-02T21:00:24.360" v="9368"/>
        <pc:sldMkLst>
          <pc:docMk/>
          <pc:sldMk cId="2179445627" sldId="4482"/>
        </pc:sldMkLst>
        <pc:spChg chg="mod">
          <ac:chgData name="Polanco Zanetta, Sebastian" userId="679afde1-f2ca-45a1-83ca-bc48414eb788" providerId="ADAL" clId="{7F2DE69D-8C9F-4CB1-8222-8CA7389F170C}" dt="2025-05-02T21:00:24.360" v="9368"/>
          <ac:spMkLst>
            <pc:docMk/>
            <pc:sldMk cId="2179445627" sldId="4482"/>
            <ac:spMk id="6" creationId="{37E8A552-1792-4F57-06B2-4C789EA07468}"/>
          </ac:spMkLst>
        </pc:spChg>
        <pc:picChg chg="mod">
          <ac:chgData name="Polanco Zanetta, Sebastian" userId="679afde1-f2ca-45a1-83ca-bc48414eb788" providerId="ADAL" clId="{7F2DE69D-8C9F-4CB1-8222-8CA7389F170C}" dt="2025-05-02T20:25:24.604" v="1484" actId="1036"/>
          <ac:picMkLst>
            <pc:docMk/>
            <pc:sldMk cId="2179445627" sldId="4482"/>
            <ac:picMk id="5" creationId="{932BCBF7-EA2A-1C78-C5FA-A4DD41A9ADF9}"/>
          </ac:picMkLst>
        </pc:picChg>
      </pc:sldChg>
      <pc:sldChg chg="addSp delSp modSp mod">
        <pc:chgData name="Polanco Zanetta, Sebastian" userId="679afde1-f2ca-45a1-83ca-bc48414eb788" providerId="ADAL" clId="{7F2DE69D-8C9F-4CB1-8222-8CA7389F170C}" dt="2025-05-07T16:56:10.491" v="17906"/>
        <pc:sldMkLst>
          <pc:docMk/>
          <pc:sldMk cId="1384679963" sldId="4486"/>
        </pc:sldMkLst>
        <pc:spChg chg="mod">
          <ac:chgData name="Polanco Zanetta, Sebastian" userId="679afde1-f2ca-45a1-83ca-bc48414eb788" providerId="ADAL" clId="{7F2DE69D-8C9F-4CB1-8222-8CA7389F170C}" dt="2025-05-02T21:09:37.566" v="13457"/>
          <ac:spMkLst>
            <pc:docMk/>
            <pc:sldMk cId="1384679963" sldId="4486"/>
            <ac:spMk id="3" creationId="{901CC820-D2CA-AFB3-0AFE-0471FBCAF105}"/>
          </ac:spMkLst>
        </pc:spChg>
        <pc:spChg chg="add mod">
          <ac:chgData name="Polanco Zanetta, Sebastian" userId="679afde1-f2ca-45a1-83ca-bc48414eb788" providerId="ADAL" clId="{7F2DE69D-8C9F-4CB1-8222-8CA7389F170C}" dt="2025-05-07T16:56:10.491" v="17906"/>
          <ac:spMkLst>
            <pc:docMk/>
            <pc:sldMk cId="1384679963" sldId="4486"/>
            <ac:spMk id="5" creationId="{3ADF8288-50C3-DFA6-89C1-02D66CEE5BB6}"/>
          </ac:spMkLst>
        </pc:spChg>
        <pc:spChg chg="mod">
          <ac:chgData name="Polanco Zanetta, Sebastian" userId="679afde1-f2ca-45a1-83ca-bc48414eb788" providerId="ADAL" clId="{7F2DE69D-8C9F-4CB1-8222-8CA7389F170C}" dt="2025-05-07T04:15:30.872" v="17339" actId="20577"/>
          <ac:spMkLst>
            <pc:docMk/>
            <pc:sldMk cId="1384679963" sldId="4486"/>
            <ac:spMk id="6" creationId="{9E57E696-36C7-44F4-9B88-24C964FB782F}"/>
          </ac:spMkLst>
        </pc:spChg>
        <pc:spChg chg="mod">
          <ac:chgData name="Polanco Zanetta, Sebastian" userId="679afde1-f2ca-45a1-83ca-bc48414eb788" providerId="ADAL" clId="{7F2DE69D-8C9F-4CB1-8222-8CA7389F170C}" dt="2025-05-07T04:14:03.023" v="17270" actId="20577"/>
          <ac:spMkLst>
            <pc:docMk/>
            <pc:sldMk cId="1384679963" sldId="4486"/>
            <ac:spMk id="9" creationId="{0C0C53A1-E8A0-479E-0EAF-9D191B19BF26}"/>
          </ac:spMkLst>
        </pc:spChg>
        <pc:spChg chg="mod">
          <ac:chgData name="Polanco Zanetta, Sebastian" userId="679afde1-f2ca-45a1-83ca-bc48414eb788" providerId="ADAL" clId="{7F2DE69D-8C9F-4CB1-8222-8CA7389F170C}" dt="2025-05-02T20:08:47.429" v="427"/>
          <ac:spMkLst>
            <pc:docMk/>
            <pc:sldMk cId="1384679963" sldId="4486"/>
            <ac:spMk id="10" creationId="{590F2CCA-678F-395D-DD2C-61A3E1D091CF}"/>
          </ac:spMkLst>
        </pc:spChg>
        <pc:spChg chg="mod">
          <ac:chgData name="Polanco Zanetta, Sebastian" userId="679afde1-f2ca-45a1-83ca-bc48414eb788" providerId="ADAL" clId="{7F2DE69D-8C9F-4CB1-8222-8CA7389F170C}" dt="2025-05-02T20:06:53.623" v="417"/>
          <ac:spMkLst>
            <pc:docMk/>
            <pc:sldMk cId="1384679963" sldId="4486"/>
            <ac:spMk id="11" creationId="{2E6A40FB-38C0-AC49-1A00-1C0A2C62E11B}"/>
          </ac:spMkLst>
        </pc:spChg>
        <pc:spChg chg="mod">
          <ac:chgData name="Polanco Zanetta, Sebastian" userId="679afde1-f2ca-45a1-83ca-bc48414eb788" providerId="ADAL" clId="{7F2DE69D-8C9F-4CB1-8222-8CA7389F170C}" dt="2025-05-02T20:07:46.071" v="424" actId="1076"/>
          <ac:spMkLst>
            <pc:docMk/>
            <pc:sldMk cId="1384679963" sldId="4486"/>
            <ac:spMk id="12" creationId="{FBB3CB7E-1196-329F-9F7F-A9D8784F2663}"/>
          </ac:spMkLst>
        </pc:spChg>
        <pc:spChg chg="mod">
          <ac:chgData name="Polanco Zanetta, Sebastian" userId="679afde1-f2ca-45a1-83ca-bc48414eb788" providerId="ADAL" clId="{7F2DE69D-8C9F-4CB1-8222-8CA7389F170C}" dt="2025-05-07T01:52:28.983" v="17155" actId="113"/>
          <ac:spMkLst>
            <pc:docMk/>
            <pc:sldMk cId="1384679963" sldId="4486"/>
            <ac:spMk id="19" creationId="{9A5914E0-4C61-ECB0-904E-74F66E01E011}"/>
          </ac:spMkLst>
        </pc:spChg>
        <pc:spChg chg="mod">
          <ac:chgData name="Polanco Zanetta, Sebastian" userId="679afde1-f2ca-45a1-83ca-bc48414eb788" providerId="ADAL" clId="{7F2DE69D-8C9F-4CB1-8222-8CA7389F170C}" dt="2025-05-07T04:14:19.451" v="17275" actId="20577"/>
          <ac:spMkLst>
            <pc:docMk/>
            <pc:sldMk cId="1384679963" sldId="4486"/>
            <ac:spMk id="20" creationId="{3B3F2425-BC73-3800-40F0-891204DDA283}"/>
          </ac:spMkLst>
        </pc:spChg>
        <pc:spChg chg="mod">
          <ac:chgData name="Polanco Zanetta, Sebastian" userId="679afde1-f2ca-45a1-83ca-bc48414eb788" providerId="ADAL" clId="{7F2DE69D-8C9F-4CB1-8222-8CA7389F170C}" dt="2025-05-07T04:15:20.096" v="17326" actId="20577"/>
          <ac:spMkLst>
            <pc:docMk/>
            <pc:sldMk cId="1384679963" sldId="4486"/>
            <ac:spMk id="25" creationId="{06B242A2-5689-D07D-E831-AE7358C06322}"/>
          </ac:spMkLst>
        </pc:spChg>
        <pc:spChg chg="mod">
          <ac:chgData name="Polanco Zanetta, Sebastian" userId="679afde1-f2ca-45a1-83ca-bc48414eb788" providerId="ADAL" clId="{7F2DE69D-8C9F-4CB1-8222-8CA7389F170C}" dt="2025-05-02T20:08:09.517" v="425"/>
          <ac:spMkLst>
            <pc:docMk/>
            <pc:sldMk cId="1384679963" sldId="4486"/>
            <ac:spMk id="26" creationId="{7B9504E4-3BE4-A7CD-B077-57DADB1A60A4}"/>
          </ac:spMkLst>
        </pc:spChg>
      </pc:sldChg>
      <pc:sldChg chg="addSp delSp modSp mod">
        <pc:chgData name="Polanco Zanetta, Sebastian" userId="679afde1-f2ca-45a1-83ca-bc48414eb788" providerId="ADAL" clId="{7F2DE69D-8C9F-4CB1-8222-8CA7389F170C}" dt="2025-05-09T01:43:38.415" v="18106" actId="20577"/>
        <pc:sldMkLst>
          <pc:docMk/>
          <pc:sldMk cId="2188482161" sldId="4487"/>
        </pc:sldMkLst>
        <pc:spChg chg="mod">
          <ac:chgData name="Polanco Zanetta, Sebastian" userId="679afde1-f2ca-45a1-83ca-bc48414eb788" providerId="ADAL" clId="{7F2DE69D-8C9F-4CB1-8222-8CA7389F170C}" dt="2025-05-02T21:09:37.566" v="13457"/>
          <ac:spMkLst>
            <pc:docMk/>
            <pc:sldMk cId="2188482161" sldId="4487"/>
            <ac:spMk id="2" creationId="{BEBA91AF-37B8-66B9-ADA9-AE0087EA08CE}"/>
          </ac:spMkLst>
        </pc:spChg>
        <pc:spChg chg="add mod">
          <ac:chgData name="Polanco Zanetta, Sebastian" userId="679afde1-f2ca-45a1-83ca-bc48414eb788" providerId="ADAL" clId="{7F2DE69D-8C9F-4CB1-8222-8CA7389F170C}" dt="2025-05-07T16:56:22.290" v="17910"/>
          <ac:spMkLst>
            <pc:docMk/>
            <pc:sldMk cId="2188482161" sldId="4487"/>
            <ac:spMk id="3" creationId="{5D8F38A9-D7C0-060A-B248-D7DD7E0E27F2}"/>
          </ac:spMkLst>
        </pc:spChg>
        <pc:spChg chg="mod">
          <ac:chgData name="Polanco Zanetta, Sebastian" userId="679afde1-f2ca-45a1-83ca-bc48414eb788" providerId="ADAL" clId="{7F2DE69D-8C9F-4CB1-8222-8CA7389F170C}" dt="2025-05-07T04:19:32.427" v="17507" actId="20577"/>
          <ac:spMkLst>
            <pc:docMk/>
            <pc:sldMk cId="2188482161" sldId="4487"/>
            <ac:spMk id="4" creationId="{8A386AE8-DF38-3055-2444-0BE446DF5B31}"/>
          </ac:spMkLst>
        </pc:spChg>
        <pc:spChg chg="mod">
          <ac:chgData name="Polanco Zanetta, Sebastian" userId="679afde1-f2ca-45a1-83ca-bc48414eb788" providerId="ADAL" clId="{7F2DE69D-8C9F-4CB1-8222-8CA7389F170C}" dt="2025-05-07T04:19:53.470" v="17509" actId="20577"/>
          <ac:spMkLst>
            <pc:docMk/>
            <pc:sldMk cId="2188482161" sldId="4487"/>
            <ac:spMk id="5" creationId="{6AC8242F-027F-E73F-F474-662FF7A33762}"/>
          </ac:spMkLst>
        </pc:spChg>
        <pc:spChg chg="mod">
          <ac:chgData name="Polanco Zanetta, Sebastian" userId="679afde1-f2ca-45a1-83ca-bc48414eb788" providerId="ADAL" clId="{7F2DE69D-8C9F-4CB1-8222-8CA7389F170C}" dt="2025-05-09T01:43:38.415" v="18106" actId="20577"/>
          <ac:spMkLst>
            <pc:docMk/>
            <pc:sldMk cId="2188482161" sldId="4487"/>
            <ac:spMk id="8" creationId="{CD123C1F-C2B0-0699-057B-B0603020E71A}"/>
          </ac:spMkLst>
        </pc:spChg>
        <pc:spChg chg="mod">
          <ac:chgData name="Polanco Zanetta, Sebastian" userId="679afde1-f2ca-45a1-83ca-bc48414eb788" providerId="ADAL" clId="{7F2DE69D-8C9F-4CB1-8222-8CA7389F170C}" dt="2025-05-07T04:20:04.374" v="17514" actId="20577"/>
          <ac:spMkLst>
            <pc:docMk/>
            <pc:sldMk cId="2188482161" sldId="4487"/>
            <ac:spMk id="9" creationId="{29DA3ABB-07AF-92E3-B8D1-93646D8FFE9C}"/>
          </ac:spMkLst>
        </pc:spChg>
        <pc:spChg chg="add mod">
          <ac:chgData name="Polanco Zanetta, Sebastian" userId="679afde1-f2ca-45a1-83ca-bc48414eb788" providerId="ADAL" clId="{7F2DE69D-8C9F-4CB1-8222-8CA7389F170C}" dt="2025-05-07T04:29:58.845" v="17862"/>
          <ac:spMkLst>
            <pc:docMk/>
            <pc:sldMk cId="2188482161" sldId="4487"/>
            <ac:spMk id="10" creationId="{BE27BFF3-26A4-3D05-EEFC-5516A8B69490}"/>
          </ac:spMkLst>
        </pc:spChg>
        <pc:spChg chg="mod">
          <ac:chgData name="Polanco Zanetta, Sebastian" userId="679afde1-f2ca-45a1-83ca-bc48414eb788" providerId="ADAL" clId="{7F2DE69D-8C9F-4CB1-8222-8CA7389F170C}" dt="2025-05-02T21:09:37.566" v="13457"/>
          <ac:spMkLst>
            <pc:docMk/>
            <pc:sldMk cId="2188482161" sldId="4487"/>
            <ac:spMk id="32" creationId="{54E39059-20BB-2585-BDE2-394590C6A98C}"/>
          </ac:spMkLst>
        </pc:spChg>
        <pc:spChg chg="mod">
          <ac:chgData name="Polanco Zanetta, Sebastian" userId="679afde1-f2ca-45a1-83ca-bc48414eb788" providerId="ADAL" clId="{7F2DE69D-8C9F-4CB1-8222-8CA7389F170C}" dt="2025-05-02T20:19:08.704" v="489"/>
          <ac:spMkLst>
            <pc:docMk/>
            <pc:sldMk cId="2188482161" sldId="4487"/>
            <ac:spMk id="33" creationId="{01E42E91-0E28-8F33-A64E-5A02681817C6}"/>
          </ac:spMkLst>
        </pc:spChg>
        <pc:spChg chg="mod">
          <ac:chgData name="Polanco Zanetta, Sebastian" userId="679afde1-f2ca-45a1-83ca-bc48414eb788" providerId="ADAL" clId="{7F2DE69D-8C9F-4CB1-8222-8CA7389F170C}" dt="2025-05-07T04:20:57.091" v="17555" actId="20577"/>
          <ac:spMkLst>
            <pc:docMk/>
            <pc:sldMk cId="2188482161" sldId="4487"/>
            <ac:spMk id="35" creationId="{D7250173-DCDE-9B8B-E741-0780405BC23A}"/>
          </ac:spMkLst>
        </pc:spChg>
        <pc:spChg chg="mod">
          <ac:chgData name="Polanco Zanetta, Sebastian" userId="679afde1-f2ca-45a1-83ca-bc48414eb788" providerId="ADAL" clId="{7F2DE69D-8C9F-4CB1-8222-8CA7389F170C}" dt="2025-05-02T20:19:46.521" v="492"/>
          <ac:spMkLst>
            <pc:docMk/>
            <pc:sldMk cId="2188482161" sldId="4487"/>
            <ac:spMk id="36" creationId="{457DCA2F-424A-448D-1F70-0B379A10D472}"/>
          </ac:spMkLst>
        </pc:spChg>
        <pc:grpChg chg="mod">
          <ac:chgData name="Polanco Zanetta, Sebastian" userId="679afde1-f2ca-45a1-83ca-bc48414eb788" providerId="ADAL" clId="{7F2DE69D-8C9F-4CB1-8222-8CA7389F170C}" dt="2025-05-07T01:59:04.824" v="17225" actId="1035"/>
          <ac:grpSpMkLst>
            <pc:docMk/>
            <pc:sldMk cId="2188482161" sldId="4487"/>
            <ac:grpSpMk id="31" creationId="{74A6A774-240B-B27A-A98E-1B369B40BBDF}"/>
          </ac:grpSpMkLst>
        </pc:grpChg>
        <pc:grpChg chg="mod">
          <ac:chgData name="Polanco Zanetta, Sebastian" userId="679afde1-f2ca-45a1-83ca-bc48414eb788" providerId="ADAL" clId="{7F2DE69D-8C9F-4CB1-8222-8CA7389F170C}" dt="2025-05-07T01:59:04.824" v="17225" actId="1035"/>
          <ac:grpSpMkLst>
            <pc:docMk/>
            <pc:sldMk cId="2188482161" sldId="4487"/>
            <ac:grpSpMk id="34" creationId="{75E4436C-BB4B-00C3-4F14-120C480AC230}"/>
          </ac:grpSpMkLst>
        </pc:grpChg>
        <pc:picChg chg="mod">
          <ac:chgData name="Polanco Zanetta, Sebastian" userId="679afde1-f2ca-45a1-83ca-bc48414eb788" providerId="ADAL" clId="{7F2DE69D-8C9F-4CB1-8222-8CA7389F170C}" dt="2025-05-07T01:58:47.181" v="17216" actId="1036"/>
          <ac:picMkLst>
            <pc:docMk/>
            <pc:sldMk cId="2188482161" sldId="4487"/>
            <ac:picMk id="12" creationId="{3FD30E2D-95A2-8CF0-E809-4C80C3A07B47}"/>
          </ac:picMkLst>
        </pc:picChg>
      </pc:sldChg>
      <pc:sldChg chg="addSp delSp modSp mod">
        <pc:chgData name="Polanco Zanetta, Sebastian" userId="679afde1-f2ca-45a1-83ca-bc48414eb788" providerId="ADAL" clId="{7F2DE69D-8C9F-4CB1-8222-8CA7389F170C}" dt="2025-05-07T16:56:30.354" v="17913"/>
        <pc:sldMkLst>
          <pc:docMk/>
          <pc:sldMk cId="2639895532" sldId="4488"/>
        </pc:sldMkLst>
        <pc:spChg chg="add mod">
          <ac:chgData name="Polanco Zanetta, Sebastian" userId="679afde1-f2ca-45a1-83ca-bc48414eb788" providerId="ADAL" clId="{7F2DE69D-8C9F-4CB1-8222-8CA7389F170C}" dt="2025-05-07T16:56:30.354" v="17913"/>
          <ac:spMkLst>
            <pc:docMk/>
            <pc:sldMk cId="2639895532" sldId="4488"/>
            <ac:spMk id="3" creationId="{EC131ACB-3B3B-571F-5A73-70083FE32840}"/>
          </ac:spMkLst>
        </pc:spChg>
        <pc:spChg chg="mod">
          <ac:chgData name="Polanco Zanetta, Sebastian" userId="679afde1-f2ca-45a1-83ca-bc48414eb788" providerId="ADAL" clId="{7F2DE69D-8C9F-4CB1-8222-8CA7389F170C}" dt="2025-05-07T04:23:23.718" v="17692" actId="20577"/>
          <ac:spMkLst>
            <pc:docMk/>
            <pc:sldMk cId="2639895532" sldId="4488"/>
            <ac:spMk id="6" creationId="{17B36644-B6C6-BA23-AE33-961CAF73E7D5}"/>
          </ac:spMkLst>
        </pc:spChg>
        <pc:spChg chg="mod">
          <ac:chgData name="Polanco Zanetta, Sebastian" userId="679afde1-f2ca-45a1-83ca-bc48414eb788" providerId="ADAL" clId="{7F2DE69D-8C9F-4CB1-8222-8CA7389F170C}" dt="2025-05-02T21:09:37.566" v="13457"/>
          <ac:spMkLst>
            <pc:docMk/>
            <pc:sldMk cId="2639895532" sldId="4488"/>
            <ac:spMk id="8" creationId="{124D65BF-DFC6-D0D5-D46C-05A32C117840}"/>
          </ac:spMkLst>
        </pc:spChg>
        <pc:spChg chg="mod">
          <ac:chgData name="Polanco Zanetta, Sebastian" userId="679afde1-f2ca-45a1-83ca-bc48414eb788" providerId="ADAL" clId="{7F2DE69D-8C9F-4CB1-8222-8CA7389F170C}" dt="2025-05-02T21:21:49.552" v="15656" actId="14100"/>
          <ac:spMkLst>
            <pc:docMk/>
            <pc:sldMk cId="2639895532" sldId="4488"/>
            <ac:spMk id="9" creationId="{1DDBBF25-4B2C-3885-8F5D-3BF2F20BBE4C}"/>
          </ac:spMkLst>
        </pc:spChg>
        <pc:spChg chg="mod">
          <ac:chgData name="Polanco Zanetta, Sebastian" userId="679afde1-f2ca-45a1-83ca-bc48414eb788" providerId="ADAL" clId="{7F2DE69D-8C9F-4CB1-8222-8CA7389F170C}" dt="2025-05-07T04:24:04.530" v="17716" actId="20577"/>
          <ac:spMkLst>
            <pc:docMk/>
            <pc:sldMk cId="2639895532" sldId="4488"/>
            <ac:spMk id="10" creationId="{10D21A58-8CA0-6C7A-BDED-EEED0F3FC795}"/>
          </ac:spMkLst>
        </pc:spChg>
        <pc:graphicFrameChg chg="mod modGraphic">
          <ac:chgData name="Polanco Zanetta, Sebastian" userId="679afde1-f2ca-45a1-83ca-bc48414eb788" providerId="ADAL" clId="{7F2DE69D-8C9F-4CB1-8222-8CA7389F170C}" dt="2025-05-03T00:16:33.085" v="16710"/>
          <ac:graphicFrameMkLst>
            <pc:docMk/>
            <pc:sldMk cId="2639895532" sldId="4488"/>
            <ac:graphicFrameMk id="5" creationId="{F3F10ED0-6486-E09F-D971-FB982184E638}"/>
          </ac:graphicFrameMkLst>
        </pc:graphicFrameChg>
        <pc:picChg chg="add del">
          <ac:chgData name="Polanco Zanetta, Sebastian" userId="679afde1-f2ca-45a1-83ca-bc48414eb788" providerId="ADAL" clId="{7F2DE69D-8C9F-4CB1-8222-8CA7389F170C}" dt="2025-05-03T00:00:27.969" v="16294" actId="478"/>
          <ac:picMkLst>
            <pc:docMk/>
            <pc:sldMk cId="2639895532" sldId="4488"/>
            <ac:picMk id="13" creationId="{56835A50-B846-F410-7717-17904E64658C}"/>
          </ac:picMkLst>
        </pc:picChg>
      </pc:sldChg>
      <pc:sldChg chg="addSp delSp modSp mod">
        <pc:chgData name="Polanco Zanetta, Sebastian" userId="679afde1-f2ca-45a1-83ca-bc48414eb788" providerId="ADAL" clId="{7F2DE69D-8C9F-4CB1-8222-8CA7389F170C}" dt="2025-05-08T04:58:32.147" v="18039" actId="20577"/>
        <pc:sldMkLst>
          <pc:docMk/>
          <pc:sldMk cId="2824732361" sldId="4489"/>
        </pc:sldMkLst>
        <pc:spChg chg="mod">
          <ac:chgData name="Polanco Zanetta, Sebastian" userId="679afde1-f2ca-45a1-83ca-bc48414eb788" providerId="ADAL" clId="{7F2DE69D-8C9F-4CB1-8222-8CA7389F170C}" dt="2025-05-02T21:24:01.243" v="15800"/>
          <ac:spMkLst>
            <pc:docMk/>
            <pc:sldMk cId="2824732361" sldId="4489"/>
            <ac:spMk id="3" creationId="{0BB46C2C-CA50-1249-4A21-3CD7B7C8793A}"/>
          </ac:spMkLst>
        </pc:spChg>
        <pc:spChg chg="mod">
          <ac:chgData name="Polanco Zanetta, Sebastian" userId="679afde1-f2ca-45a1-83ca-bc48414eb788" providerId="ADAL" clId="{7F2DE69D-8C9F-4CB1-8222-8CA7389F170C}" dt="2025-05-02T21:24:01.243" v="15801"/>
          <ac:spMkLst>
            <pc:docMk/>
            <pc:sldMk cId="2824732361" sldId="4489"/>
            <ac:spMk id="4" creationId="{A640AB88-AC2D-6FAC-2A5E-9C3026DC20E1}"/>
          </ac:spMkLst>
        </pc:spChg>
        <pc:spChg chg="mod">
          <ac:chgData name="Polanco Zanetta, Sebastian" userId="679afde1-f2ca-45a1-83ca-bc48414eb788" providerId="ADAL" clId="{7F2DE69D-8C9F-4CB1-8222-8CA7389F170C}" dt="2025-05-02T21:24:01.243" v="15802"/>
          <ac:spMkLst>
            <pc:docMk/>
            <pc:sldMk cId="2824732361" sldId="4489"/>
            <ac:spMk id="5" creationId="{77F706C4-B461-D119-A763-1606AA3D02A9}"/>
          </ac:spMkLst>
        </pc:spChg>
        <pc:spChg chg="mod ord">
          <ac:chgData name="Polanco Zanetta, Sebastian" userId="679afde1-f2ca-45a1-83ca-bc48414eb788" providerId="ADAL" clId="{7F2DE69D-8C9F-4CB1-8222-8CA7389F170C}" dt="2025-05-02T21:24:01.243" v="15782"/>
          <ac:spMkLst>
            <pc:docMk/>
            <pc:sldMk cId="2824732361" sldId="4489"/>
            <ac:spMk id="6" creationId="{5FB2A1A7-EF40-76DD-D226-9FC601E60355}"/>
          </ac:spMkLst>
        </pc:spChg>
        <pc:spChg chg="mod">
          <ac:chgData name="Polanco Zanetta, Sebastian" userId="679afde1-f2ca-45a1-83ca-bc48414eb788" providerId="ADAL" clId="{7F2DE69D-8C9F-4CB1-8222-8CA7389F170C}" dt="2025-05-02T21:24:01.243" v="15803"/>
          <ac:spMkLst>
            <pc:docMk/>
            <pc:sldMk cId="2824732361" sldId="4489"/>
            <ac:spMk id="8" creationId="{BB71EA1B-04DA-234C-E595-1091A37A081C}"/>
          </ac:spMkLst>
        </pc:spChg>
        <pc:spChg chg="mod">
          <ac:chgData name="Polanco Zanetta, Sebastian" userId="679afde1-f2ca-45a1-83ca-bc48414eb788" providerId="ADAL" clId="{7F2DE69D-8C9F-4CB1-8222-8CA7389F170C}" dt="2025-05-02T21:24:01.243" v="15804"/>
          <ac:spMkLst>
            <pc:docMk/>
            <pc:sldMk cId="2824732361" sldId="4489"/>
            <ac:spMk id="9" creationId="{FE723484-3FAD-CC64-D7F0-D226CDF0FE99}"/>
          </ac:spMkLst>
        </pc:spChg>
        <pc:spChg chg="add del mod ord">
          <ac:chgData name="Polanco Zanetta, Sebastian" userId="679afde1-f2ca-45a1-83ca-bc48414eb788" providerId="ADAL" clId="{7F2DE69D-8C9F-4CB1-8222-8CA7389F170C}" dt="2025-05-03T00:02:02.688" v="16317" actId="478"/>
          <ac:spMkLst>
            <pc:docMk/>
            <pc:sldMk cId="2824732361" sldId="4489"/>
            <ac:spMk id="10" creationId="{2759D15C-06BE-7E1A-ED80-EBE68BAC852B}"/>
          </ac:spMkLst>
        </pc:spChg>
        <pc:spChg chg="mod ord">
          <ac:chgData name="Polanco Zanetta, Sebastian" userId="679afde1-f2ca-45a1-83ca-bc48414eb788" providerId="ADAL" clId="{7F2DE69D-8C9F-4CB1-8222-8CA7389F170C}" dt="2025-05-02T21:24:01.258" v="15817"/>
          <ac:spMkLst>
            <pc:docMk/>
            <pc:sldMk cId="2824732361" sldId="4489"/>
            <ac:spMk id="11" creationId="{49D14489-0C9C-8323-CB1B-03B9ED9BC6A2}"/>
          </ac:spMkLst>
        </pc:spChg>
        <pc:spChg chg="mod ord">
          <ac:chgData name="Polanco Zanetta, Sebastian" userId="679afde1-f2ca-45a1-83ca-bc48414eb788" providerId="ADAL" clId="{7F2DE69D-8C9F-4CB1-8222-8CA7389F170C}" dt="2025-05-02T21:24:01.258" v="15819"/>
          <ac:spMkLst>
            <pc:docMk/>
            <pc:sldMk cId="2824732361" sldId="4489"/>
            <ac:spMk id="12" creationId="{0B222A11-6614-424B-A2C1-C7D3F17B8F67}"/>
          </ac:spMkLst>
        </pc:spChg>
        <pc:spChg chg="mod">
          <ac:chgData name="Polanco Zanetta, Sebastian" userId="679afde1-f2ca-45a1-83ca-bc48414eb788" providerId="ADAL" clId="{7F2DE69D-8C9F-4CB1-8222-8CA7389F170C}" dt="2025-05-02T21:24:01.243" v="15798"/>
          <ac:spMkLst>
            <pc:docMk/>
            <pc:sldMk cId="2824732361" sldId="4489"/>
            <ac:spMk id="18" creationId="{9B6F355D-242A-8609-E037-EA8281B93037}"/>
          </ac:spMkLst>
        </pc:spChg>
        <pc:spChg chg="mod">
          <ac:chgData name="Polanco Zanetta, Sebastian" userId="679afde1-f2ca-45a1-83ca-bc48414eb788" providerId="ADAL" clId="{7F2DE69D-8C9F-4CB1-8222-8CA7389F170C}" dt="2025-05-02T21:24:01.243" v="15806"/>
          <ac:spMkLst>
            <pc:docMk/>
            <pc:sldMk cId="2824732361" sldId="4489"/>
            <ac:spMk id="20" creationId="{4F22E3BC-C101-DBDE-4DA9-49F573D88290}"/>
          </ac:spMkLst>
        </pc:spChg>
        <pc:spChg chg="mod">
          <ac:chgData name="Polanco Zanetta, Sebastian" userId="679afde1-f2ca-45a1-83ca-bc48414eb788" providerId="ADAL" clId="{7F2DE69D-8C9F-4CB1-8222-8CA7389F170C}" dt="2025-05-02T21:24:01.243" v="15807"/>
          <ac:spMkLst>
            <pc:docMk/>
            <pc:sldMk cId="2824732361" sldId="4489"/>
            <ac:spMk id="21" creationId="{B29F323B-220F-7D45-7998-06F61B6BB0E7}"/>
          </ac:spMkLst>
        </pc:spChg>
        <pc:spChg chg="mod">
          <ac:chgData name="Polanco Zanetta, Sebastian" userId="679afde1-f2ca-45a1-83ca-bc48414eb788" providerId="ADAL" clId="{7F2DE69D-8C9F-4CB1-8222-8CA7389F170C}" dt="2025-05-02T21:24:01.243" v="15808"/>
          <ac:spMkLst>
            <pc:docMk/>
            <pc:sldMk cId="2824732361" sldId="4489"/>
            <ac:spMk id="22" creationId="{54F7061C-85B2-DE1D-4BB6-8A9341AC8A77}"/>
          </ac:spMkLst>
        </pc:spChg>
        <pc:spChg chg="mod">
          <ac:chgData name="Polanco Zanetta, Sebastian" userId="679afde1-f2ca-45a1-83ca-bc48414eb788" providerId="ADAL" clId="{7F2DE69D-8C9F-4CB1-8222-8CA7389F170C}" dt="2025-05-02T21:24:01.243" v="15809"/>
          <ac:spMkLst>
            <pc:docMk/>
            <pc:sldMk cId="2824732361" sldId="4489"/>
            <ac:spMk id="23" creationId="{A187CE49-324E-E591-FDFF-5015C3EADC9F}"/>
          </ac:spMkLst>
        </pc:spChg>
        <pc:spChg chg="mod">
          <ac:chgData name="Polanco Zanetta, Sebastian" userId="679afde1-f2ca-45a1-83ca-bc48414eb788" providerId="ADAL" clId="{7F2DE69D-8C9F-4CB1-8222-8CA7389F170C}" dt="2025-05-02T21:24:01.243" v="15810"/>
          <ac:spMkLst>
            <pc:docMk/>
            <pc:sldMk cId="2824732361" sldId="4489"/>
            <ac:spMk id="24" creationId="{B3D90FA1-9F5C-D70F-F10B-B6C1C8A6A3A3}"/>
          </ac:spMkLst>
        </pc:spChg>
        <pc:spChg chg="mod">
          <ac:chgData name="Polanco Zanetta, Sebastian" userId="679afde1-f2ca-45a1-83ca-bc48414eb788" providerId="ADAL" clId="{7F2DE69D-8C9F-4CB1-8222-8CA7389F170C}" dt="2025-05-02T21:24:01.243" v="15813"/>
          <ac:spMkLst>
            <pc:docMk/>
            <pc:sldMk cId="2824732361" sldId="4489"/>
            <ac:spMk id="29" creationId="{85EF8586-B544-F8BF-0C22-53E18F49A5F5}"/>
          </ac:spMkLst>
        </pc:spChg>
        <pc:spChg chg="mod">
          <ac:chgData name="Polanco Zanetta, Sebastian" userId="679afde1-f2ca-45a1-83ca-bc48414eb788" providerId="ADAL" clId="{7F2DE69D-8C9F-4CB1-8222-8CA7389F170C}" dt="2025-05-02T21:24:01.243" v="15783"/>
          <ac:spMkLst>
            <pc:docMk/>
            <pc:sldMk cId="2824732361" sldId="4489"/>
            <ac:spMk id="50" creationId="{3A564A7C-0404-AF6B-12BC-736EC97B3804}"/>
          </ac:spMkLst>
        </pc:spChg>
        <pc:spChg chg="mod ord">
          <ac:chgData name="Polanco Zanetta, Sebastian" userId="679afde1-f2ca-45a1-83ca-bc48414eb788" providerId="ADAL" clId="{7F2DE69D-8C9F-4CB1-8222-8CA7389F170C}" dt="2025-05-08T04:58:32.147" v="18039" actId="20577"/>
          <ac:spMkLst>
            <pc:docMk/>
            <pc:sldMk cId="2824732361" sldId="4489"/>
            <ac:spMk id="73" creationId="{CDC364A9-9EEE-9C22-B2E7-BF5097EF0ADB}"/>
          </ac:spMkLst>
        </pc:spChg>
        <pc:graphicFrameChg chg="mod">
          <ac:chgData name="Polanco Zanetta, Sebastian" userId="679afde1-f2ca-45a1-83ca-bc48414eb788" providerId="ADAL" clId="{7F2DE69D-8C9F-4CB1-8222-8CA7389F170C}" dt="2025-05-02T21:24:01.258" v="15821"/>
          <ac:graphicFrameMkLst>
            <pc:docMk/>
            <pc:sldMk cId="2824732361" sldId="4489"/>
            <ac:graphicFrameMk id="7" creationId="{B78F41AE-0B4C-4CAC-7AC8-E4D2A5A35025}"/>
          </ac:graphicFrameMkLst>
        </pc:graphicFrameChg>
        <pc:picChg chg="mod ord">
          <ac:chgData name="Polanco Zanetta, Sebastian" userId="679afde1-f2ca-45a1-83ca-bc48414eb788" providerId="ADAL" clId="{7F2DE69D-8C9F-4CB1-8222-8CA7389F170C}" dt="2025-05-03T00:06:37.505" v="16365" actId="12788"/>
          <ac:picMkLst>
            <pc:docMk/>
            <pc:sldMk cId="2824732361" sldId="4489"/>
            <ac:picMk id="2" creationId="{743BA1F8-7EC8-B61C-94C5-966914B6BD79}"/>
          </ac:picMkLst>
        </pc:picChg>
        <pc:picChg chg="add mod">
          <ac:chgData name="Polanco Zanetta, Sebastian" userId="679afde1-f2ca-45a1-83ca-bc48414eb788" providerId="ADAL" clId="{7F2DE69D-8C9F-4CB1-8222-8CA7389F170C}" dt="2025-05-03T00:06:37.505" v="16365" actId="12788"/>
          <ac:picMkLst>
            <pc:docMk/>
            <pc:sldMk cId="2824732361" sldId="4489"/>
            <ac:picMk id="13" creationId="{654F7D48-1931-874A-B0C5-CE2449191FDD}"/>
          </ac:picMkLst>
        </pc:picChg>
        <pc:picChg chg="mod ord">
          <ac:chgData name="Polanco Zanetta, Sebastian" userId="679afde1-f2ca-45a1-83ca-bc48414eb788" providerId="ADAL" clId="{7F2DE69D-8C9F-4CB1-8222-8CA7389F170C}" dt="2025-05-02T21:24:01.243" v="15797"/>
          <ac:picMkLst>
            <pc:docMk/>
            <pc:sldMk cId="2824732361" sldId="4489"/>
            <ac:picMk id="17" creationId="{CDE5AA9E-302D-5B19-CA9E-1D4F12B58A82}"/>
          </ac:picMkLst>
        </pc:picChg>
        <pc:picChg chg="mod ord">
          <ac:chgData name="Polanco Zanetta, Sebastian" userId="679afde1-f2ca-45a1-83ca-bc48414eb788" providerId="ADAL" clId="{7F2DE69D-8C9F-4CB1-8222-8CA7389F170C}" dt="2025-05-02T21:24:01.243" v="15812"/>
          <ac:picMkLst>
            <pc:docMk/>
            <pc:sldMk cId="2824732361" sldId="4489"/>
            <ac:picMk id="28" creationId="{5020D74B-C442-6BB5-929A-600C394704EA}"/>
          </ac:picMkLst>
        </pc:picChg>
        <pc:picChg chg="mod ord">
          <ac:chgData name="Polanco Zanetta, Sebastian" userId="679afde1-f2ca-45a1-83ca-bc48414eb788" providerId="ADAL" clId="{7F2DE69D-8C9F-4CB1-8222-8CA7389F170C}" dt="2025-05-02T21:24:01.243" v="15785"/>
          <ac:picMkLst>
            <pc:docMk/>
            <pc:sldMk cId="2824732361" sldId="4489"/>
            <ac:picMk id="51" creationId="{4AA7C00E-581A-69BF-6765-95F9E18AFEC7}"/>
          </ac:picMkLst>
        </pc:picChg>
        <pc:picChg chg="add del mod ord">
          <ac:chgData name="Polanco Zanetta, Sebastian" userId="679afde1-f2ca-45a1-83ca-bc48414eb788" providerId="ADAL" clId="{7F2DE69D-8C9F-4CB1-8222-8CA7389F170C}" dt="2025-05-03T00:06:37.505" v="16365" actId="12788"/>
          <ac:picMkLst>
            <pc:docMk/>
            <pc:sldMk cId="2824732361" sldId="4489"/>
            <ac:picMk id="74" creationId="{4BDB75F2-9453-6A6A-4625-0DF24EFD350E}"/>
          </ac:picMkLst>
        </pc:picChg>
        <pc:picChg chg="mod ord">
          <ac:chgData name="Polanco Zanetta, Sebastian" userId="679afde1-f2ca-45a1-83ca-bc48414eb788" providerId="ADAL" clId="{7F2DE69D-8C9F-4CB1-8222-8CA7389F170C}" dt="2025-05-03T00:06:37.505" v="16365" actId="12788"/>
          <ac:picMkLst>
            <pc:docMk/>
            <pc:sldMk cId="2824732361" sldId="4489"/>
            <ac:picMk id="93" creationId="{E41BE717-1EED-F9B6-67BA-D625232F5541}"/>
          </ac:picMkLst>
        </pc:picChg>
        <pc:picChg chg="mod ord">
          <ac:chgData name="Polanco Zanetta, Sebastian" userId="679afde1-f2ca-45a1-83ca-bc48414eb788" providerId="ADAL" clId="{7F2DE69D-8C9F-4CB1-8222-8CA7389F170C}" dt="2025-05-03T00:06:37.505" v="16365" actId="12788"/>
          <ac:picMkLst>
            <pc:docMk/>
            <pc:sldMk cId="2824732361" sldId="4489"/>
            <ac:picMk id="94" creationId="{7B159B20-774D-37B4-5CAC-8731F3DF254B}"/>
          </ac:picMkLst>
        </pc:picChg>
      </pc:sldChg>
      <pc:sldChg chg="addSp delSp modSp mod">
        <pc:chgData name="Polanco Zanetta, Sebastian" userId="679afde1-f2ca-45a1-83ca-bc48414eb788" providerId="ADAL" clId="{7F2DE69D-8C9F-4CB1-8222-8CA7389F170C}" dt="2025-05-07T16:56:36.208" v="17915"/>
        <pc:sldMkLst>
          <pc:docMk/>
          <pc:sldMk cId="2125061091" sldId="4490"/>
        </pc:sldMkLst>
        <pc:spChg chg="mod">
          <ac:chgData name="Polanco Zanetta, Sebastian" userId="679afde1-f2ca-45a1-83ca-bc48414eb788" providerId="ADAL" clId="{7F2DE69D-8C9F-4CB1-8222-8CA7389F170C}" dt="2025-05-02T21:24:04.652" v="15963"/>
          <ac:spMkLst>
            <pc:docMk/>
            <pc:sldMk cId="2125061091" sldId="4490"/>
            <ac:spMk id="3" creationId="{EB4552C0-83C9-32EA-78A5-BF5E7A4CA747}"/>
          </ac:spMkLst>
        </pc:spChg>
        <pc:spChg chg="mod">
          <ac:chgData name="Polanco Zanetta, Sebastian" userId="679afde1-f2ca-45a1-83ca-bc48414eb788" providerId="ADAL" clId="{7F2DE69D-8C9F-4CB1-8222-8CA7389F170C}" dt="2025-05-02T21:24:04.652" v="15965"/>
          <ac:spMkLst>
            <pc:docMk/>
            <pc:sldMk cId="2125061091" sldId="4490"/>
            <ac:spMk id="4" creationId="{7E48156E-6A95-A64B-8520-CD11DA6C5EEF}"/>
          </ac:spMkLst>
        </pc:spChg>
        <pc:spChg chg="mod ord">
          <ac:chgData name="Polanco Zanetta, Sebastian" userId="679afde1-f2ca-45a1-83ca-bc48414eb788" providerId="ADAL" clId="{7F2DE69D-8C9F-4CB1-8222-8CA7389F170C}" dt="2025-05-02T21:24:04.652" v="15977"/>
          <ac:spMkLst>
            <pc:docMk/>
            <pc:sldMk cId="2125061091" sldId="4490"/>
            <ac:spMk id="5" creationId="{61DC3275-B8D9-B5F5-040F-B12BE9DA1B5D}"/>
          </ac:spMkLst>
        </pc:spChg>
        <pc:spChg chg="mod ord">
          <ac:chgData name="Polanco Zanetta, Sebastian" userId="679afde1-f2ca-45a1-83ca-bc48414eb788" providerId="ADAL" clId="{7F2DE69D-8C9F-4CB1-8222-8CA7389F170C}" dt="2025-05-02T21:24:04.652" v="15944"/>
          <ac:spMkLst>
            <pc:docMk/>
            <pc:sldMk cId="2125061091" sldId="4490"/>
            <ac:spMk id="6" creationId="{BF414253-9FCB-E108-A0A2-3C127AC2421F}"/>
          </ac:spMkLst>
        </pc:spChg>
        <pc:spChg chg="mod">
          <ac:chgData name="Polanco Zanetta, Sebastian" userId="679afde1-f2ca-45a1-83ca-bc48414eb788" providerId="ADAL" clId="{7F2DE69D-8C9F-4CB1-8222-8CA7389F170C}" dt="2025-05-03T00:19:01.496" v="16712" actId="20577"/>
          <ac:spMkLst>
            <pc:docMk/>
            <pc:sldMk cId="2125061091" sldId="4490"/>
            <ac:spMk id="8" creationId="{9941D662-747A-0476-62DA-A304C4D9229B}"/>
          </ac:spMkLst>
        </pc:spChg>
        <pc:spChg chg="mod ord">
          <ac:chgData name="Polanco Zanetta, Sebastian" userId="679afde1-f2ca-45a1-83ca-bc48414eb788" providerId="ADAL" clId="{7F2DE69D-8C9F-4CB1-8222-8CA7389F170C}" dt="2025-05-02T21:24:04.652" v="15942"/>
          <ac:spMkLst>
            <pc:docMk/>
            <pc:sldMk cId="2125061091" sldId="4490"/>
            <ac:spMk id="10" creationId="{35EB8480-7490-230E-AE0C-D9EC6F0D8BAD}"/>
          </ac:spMkLst>
        </pc:spChg>
        <pc:spChg chg="mod ord">
          <ac:chgData name="Polanco Zanetta, Sebastian" userId="679afde1-f2ca-45a1-83ca-bc48414eb788" providerId="ADAL" clId="{7F2DE69D-8C9F-4CB1-8222-8CA7389F170C}" dt="2025-05-02T21:24:04.652" v="15982"/>
          <ac:spMkLst>
            <pc:docMk/>
            <pc:sldMk cId="2125061091" sldId="4490"/>
            <ac:spMk id="11" creationId="{780FC4BF-6385-DFE0-D26D-0AB2300C9EC5}"/>
          </ac:spMkLst>
        </pc:spChg>
        <pc:spChg chg="mod">
          <ac:chgData name="Polanco Zanetta, Sebastian" userId="679afde1-f2ca-45a1-83ca-bc48414eb788" providerId="ADAL" clId="{7F2DE69D-8C9F-4CB1-8222-8CA7389F170C}" dt="2025-05-02T21:51:29.933" v="16256" actId="20577"/>
          <ac:spMkLst>
            <pc:docMk/>
            <pc:sldMk cId="2125061091" sldId="4490"/>
            <ac:spMk id="12" creationId="{CD0EDC96-5A83-A27F-AAA7-252E6792803C}"/>
          </ac:spMkLst>
        </pc:spChg>
        <pc:spChg chg="add mod">
          <ac:chgData name="Polanco Zanetta, Sebastian" userId="679afde1-f2ca-45a1-83ca-bc48414eb788" providerId="ADAL" clId="{7F2DE69D-8C9F-4CB1-8222-8CA7389F170C}" dt="2025-05-07T16:56:36.208" v="17915"/>
          <ac:spMkLst>
            <pc:docMk/>
            <pc:sldMk cId="2125061091" sldId="4490"/>
            <ac:spMk id="13" creationId="{E313F3D6-B10F-E38C-24E8-17B263275493}"/>
          </ac:spMkLst>
        </pc:spChg>
        <pc:spChg chg="mod">
          <ac:chgData name="Polanco Zanetta, Sebastian" userId="679afde1-f2ca-45a1-83ca-bc48414eb788" providerId="ADAL" clId="{7F2DE69D-8C9F-4CB1-8222-8CA7389F170C}" dt="2025-05-02T21:24:04.652" v="15966"/>
          <ac:spMkLst>
            <pc:docMk/>
            <pc:sldMk cId="2125061091" sldId="4490"/>
            <ac:spMk id="14" creationId="{7E48156E-6A95-A64B-8520-CD11DA6C5EEF}"/>
          </ac:spMkLst>
        </pc:spChg>
        <pc:spChg chg="mod">
          <ac:chgData name="Polanco Zanetta, Sebastian" userId="679afde1-f2ca-45a1-83ca-bc48414eb788" providerId="ADAL" clId="{7F2DE69D-8C9F-4CB1-8222-8CA7389F170C}" dt="2025-05-02T21:24:04.652" v="15960"/>
          <ac:spMkLst>
            <pc:docMk/>
            <pc:sldMk cId="2125061091" sldId="4490"/>
            <ac:spMk id="18" creationId="{55B1767B-7A2F-3A6C-9215-692B682C48BE}"/>
          </ac:spMkLst>
        </pc:spChg>
        <pc:spChg chg="mod">
          <ac:chgData name="Polanco Zanetta, Sebastian" userId="679afde1-f2ca-45a1-83ca-bc48414eb788" providerId="ADAL" clId="{7F2DE69D-8C9F-4CB1-8222-8CA7389F170C}" dt="2025-05-02T21:24:04.652" v="15967"/>
          <ac:spMkLst>
            <pc:docMk/>
            <pc:sldMk cId="2125061091" sldId="4490"/>
            <ac:spMk id="20" creationId="{7E48156E-6A95-A64B-8520-CD11DA6C5EEF}"/>
          </ac:spMkLst>
        </pc:spChg>
        <pc:spChg chg="mod">
          <ac:chgData name="Polanco Zanetta, Sebastian" userId="679afde1-f2ca-45a1-83ca-bc48414eb788" providerId="ADAL" clId="{7F2DE69D-8C9F-4CB1-8222-8CA7389F170C}" dt="2025-05-02T21:24:04.652" v="15968"/>
          <ac:spMkLst>
            <pc:docMk/>
            <pc:sldMk cId="2125061091" sldId="4490"/>
            <ac:spMk id="21" creationId="{7E48156E-6A95-A64B-8520-CD11DA6C5EEF}"/>
          </ac:spMkLst>
        </pc:spChg>
        <pc:spChg chg="mod">
          <ac:chgData name="Polanco Zanetta, Sebastian" userId="679afde1-f2ca-45a1-83ca-bc48414eb788" providerId="ADAL" clId="{7F2DE69D-8C9F-4CB1-8222-8CA7389F170C}" dt="2025-05-02T21:24:04.652" v="15969"/>
          <ac:spMkLst>
            <pc:docMk/>
            <pc:sldMk cId="2125061091" sldId="4490"/>
            <ac:spMk id="22" creationId="{7E48156E-6A95-A64B-8520-CD11DA6C5EEF}"/>
          </ac:spMkLst>
        </pc:spChg>
        <pc:spChg chg="mod">
          <ac:chgData name="Polanco Zanetta, Sebastian" userId="679afde1-f2ca-45a1-83ca-bc48414eb788" providerId="ADAL" clId="{7F2DE69D-8C9F-4CB1-8222-8CA7389F170C}" dt="2025-05-02T21:24:04.652" v="15971"/>
          <ac:spMkLst>
            <pc:docMk/>
            <pc:sldMk cId="2125061091" sldId="4490"/>
            <ac:spMk id="26" creationId="{7E48156E-6A95-A64B-8520-CD11DA6C5EEF}"/>
          </ac:spMkLst>
        </pc:spChg>
        <pc:spChg chg="mod">
          <ac:chgData name="Polanco Zanetta, Sebastian" userId="679afde1-f2ca-45a1-83ca-bc48414eb788" providerId="ADAL" clId="{7F2DE69D-8C9F-4CB1-8222-8CA7389F170C}" dt="2025-05-02T21:24:04.652" v="15972"/>
          <ac:spMkLst>
            <pc:docMk/>
            <pc:sldMk cId="2125061091" sldId="4490"/>
            <ac:spMk id="28" creationId="{7E48156E-6A95-A64B-8520-CD11DA6C5EEF}"/>
          </ac:spMkLst>
        </pc:spChg>
        <pc:spChg chg="mod">
          <ac:chgData name="Polanco Zanetta, Sebastian" userId="679afde1-f2ca-45a1-83ca-bc48414eb788" providerId="ADAL" clId="{7F2DE69D-8C9F-4CB1-8222-8CA7389F170C}" dt="2025-05-02T21:24:04.652" v="15973"/>
          <ac:spMkLst>
            <pc:docMk/>
            <pc:sldMk cId="2125061091" sldId="4490"/>
            <ac:spMk id="29" creationId="{7E48156E-6A95-A64B-8520-CD11DA6C5EEF}"/>
          </ac:spMkLst>
        </pc:spChg>
        <pc:spChg chg="mod">
          <ac:chgData name="Polanco Zanetta, Sebastian" userId="679afde1-f2ca-45a1-83ca-bc48414eb788" providerId="ADAL" clId="{7F2DE69D-8C9F-4CB1-8222-8CA7389F170C}" dt="2025-05-02T21:24:04.652" v="15974"/>
          <ac:spMkLst>
            <pc:docMk/>
            <pc:sldMk cId="2125061091" sldId="4490"/>
            <ac:spMk id="30" creationId="{7E48156E-6A95-A64B-8520-CD11DA6C5EEF}"/>
          </ac:spMkLst>
        </pc:spChg>
        <pc:spChg chg="mod">
          <ac:chgData name="Polanco Zanetta, Sebastian" userId="679afde1-f2ca-45a1-83ca-bc48414eb788" providerId="ADAL" clId="{7F2DE69D-8C9F-4CB1-8222-8CA7389F170C}" dt="2025-05-02T21:24:04.652" v="15975"/>
          <ac:spMkLst>
            <pc:docMk/>
            <pc:sldMk cId="2125061091" sldId="4490"/>
            <ac:spMk id="31" creationId="{7E48156E-6A95-A64B-8520-CD11DA6C5EEF}"/>
          </ac:spMkLst>
        </pc:spChg>
        <pc:spChg chg="mod ord">
          <ac:chgData name="Polanco Zanetta, Sebastian" userId="679afde1-f2ca-45a1-83ca-bc48414eb788" providerId="ADAL" clId="{7F2DE69D-8C9F-4CB1-8222-8CA7389F170C}" dt="2025-05-03T00:10:54.327" v="16666" actId="20577"/>
          <ac:spMkLst>
            <pc:docMk/>
            <pc:sldMk cId="2125061091" sldId="4490"/>
            <ac:spMk id="73" creationId="{9000E80C-7279-1C28-7A7B-9C69EC4760B8}"/>
          </ac:spMkLst>
        </pc:spChg>
        <pc:graphicFrameChg chg="mod">
          <ac:chgData name="Polanco Zanetta, Sebastian" userId="679afde1-f2ca-45a1-83ca-bc48414eb788" providerId="ADAL" clId="{7F2DE69D-8C9F-4CB1-8222-8CA7389F170C}" dt="2025-05-02T21:24:04.652" v="15984"/>
          <ac:graphicFrameMkLst>
            <pc:docMk/>
            <pc:sldMk cId="2125061091" sldId="4490"/>
            <ac:graphicFrameMk id="7" creationId="{2142E86D-5042-A999-705F-BB951B1722C4}"/>
          </ac:graphicFrameMkLst>
        </pc:graphicFrameChg>
        <pc:picChg chg="mod ord">
          <ac:chgData name="Polanco Zanetta, Sebastian" userId="679afde1-f2ca-45a1-83ca-bc48414eb788" providerId="ADAL" clId="{7F2DE69D-8C9F-4CB1-8222-8CA7389F170C}" dt="2025-05-02T21:24:04.652" v="15962"/>
          <ac:picMkLst>
            <pc:docMk/>
            <pc:sldMk cId="2125061091" sldId="4490"/>
            <ac:picMk id="2" creationId="{D92E8953-0688-E227-1724-44D3E915F246}"/>
          </ac:picMkLst>
        </pc:picChg>
        <pc:picChg chg="mod ord">
          <ac:chgData name="Polanco Zanetta, Sebastian" userId="679afde1-f2ca-45a1-83ca-bc48414eb788" providerId="ADAL" clId="{7F2DE69D-8C9F-4CB1-8222-8CA7389F170C}" dt="2025-05-02T21:24:04.652" v="15957"/>
          <ac:picMkLst>
            <pc:docMk/>
            <pc:sldMk cId="2125061091" sldId="4490"/>
            <ac:picMk id="9" creationId="{22991B33-0F6E-A47C-F958-1EA57C721535}"/>
          </ac:picMkLst>
        </pc:picChg>
        <pc:picChg chg="mod ord">
          <ac:chgData name="Polanco Zanetta, Sebastian" userId="679afde1-f2ca-45a1-83ca-bc48414eb788" providerId="ADAL" clId="{7F2DE69D-8C9F-4CB1-8222-8CA7389F170C}" dt="2025-05-02T21:24:04.652" v="15959"/>
          <ac:picMkLst>
            <pc:docMk/>
            <pc:sldMk cId="2125061091" sldId="4490"/>
            <ac:picMk id="17" creationId="{B85AAE45-5516-AF86-4D35-48E77B5A1DCD}"/>
          </ac:picMkLst>
        </pc:picChg>
        <pc:picChg chg="mod ord">
          <ac:chgData name="Polanco Zanetta, Sebastian" userId="679afde1-f2ca-45a1-83ca-bc48414eb788" providerId="ADAL" clId="{7F2DE69D-8C9F-4CB1-8222-8CA7389F170C}" dt="2025-05-03T00:08:25.704" v="16407" actId="12788"/>
          <ac:picMkLst>
            <pc:docMk/>
            <pc:sldMk cId="2125061091" sldId="4490"/>
            <ac:picMk id="74" creationId="{471C136E-FB79-1F57-4F0E-DD2696D0991B}"/>
          </ac:picMkLst>
        </pc:picChg>
        <pc:picChg chg="mod ord">
          <ac:chgData name="Polanco Zanetta, Sebastian" userId="679afde1-f2ca-45a1-83ca-bc48414eb788" providerId="ADAL" clId="{7F2DE69D-8C9F-4CB1-8222-8CA7389F170C}" dt="2025-05-03T00:08:25.704" v="16407" actId="12788"/>
          <ac:picMkLst>
            <pc:docMk/>
            <pc:sldMk cId="2125061091" sldId="4490"/>
            <ac:picMk id="75" creationId="{3EE01F89-0EAA-515B-953A-C4A90EEC8E30}"/>
          </ac:picMkLst>
        </pc:picChg>
        <pc:picChg chg="mod ord">
          <ac:chgData name="Polanco Zanetta, Sebastian" userId="679afde1-f2ca-45a1-83ca-bc48414eb788" providerId="ADAL" clId="{7F2DE69D-8C9F-4CB1-8222-8CA7389F170C}" dt="2025-05-03T00:08:25.704" v="16407" actId="12788"/>
          <ac:picMkLst>
            <pc:docMk/>
            <pc:sldMk cId="2125061091" sldId="4490"/>
            <ac:picMk id="93" creationId="{1133B4E6-E29B-C5EC-6CA1-5AA88538E59B}"/>
          </ac:picMkLst>
        </pc:picChg>
        <pc:picChg chg="mod ord">
          <ac:chgData name="Polanco Zanetta, Sebastian" userId="679afde1-f2ca-45a1-83ca-bc48414eb788" providerId="ADAL" clId="{7F2DE69D-8C9F-4CB1-8222-8CA7389F170C}" dt="2025-05-03T00:08:25.704" v="16407" actId="12788"/>
          <ac:picMkLst>
            <pc:docMk/>
            <pc:sldMk cId="2125061091" sldId="4490"/>
            <ac:picMk id="94" creationId="{278EDCDC-0114-3DDD-B79E-292C5C7A4B0C}"/>
          </ac:picMkLst>
        </pc:picChg>
      </pc:sldChg>
      <pc:sldChg chg="addSp delSp modSp mod">
        <pc:chgData name="Polanco Zanetta, Sebastian" userId="679afde1-f2ca-45a1-83ca-bc48414eb788" providerId="ADAL" clId="{7F2DE69D-8C9F-4CB1-8222-8CA7389F170C}" dt="2025-05-07T16:56:37.813" v="17916"/>
        <pc:sldMkLst>
          <pc:docMk/>
          <pc:sldMk cId="1487440770" sldId="4491"/>
        </pc:sldMkLst>
        <pc:spChg chg="mod ord">
          <ac:chgData name="Polanco Zanetta, Sebastian" userId="679afde1-f2ca-45a1-83ca-bc48414eb788" providerId="ADAL" clId="{7F2DE69D-8C9F-4CB1-8222-8CA7389F170C}" dt="2025-05-03T00:10:28.159" v="16649"/>
          <ac:spMkLst>
            <pc:docMk/>
            <pc:sldMk cId="1487440770" sldId="4491"/>
            <ac:spMk id="2" creationId="{AC31CF0C-F5C9-55FB-B7FE-56A979BB9F4F}"/>
          </ac:spMkLst>
        </pc:spChg>
        <pc:spChg chg="mod ord">
          <ac:chgData name="Polanco Zanetta, Sebastian" userId="679afde1-f2ca-45a1-83ca-bc48414eb788" providerId="ADAL" clId="{7F2DE69D-8C9F-4CB1-8222-8CA7389F170C}" dt="2025-05-03T00:10:28.159" v="16658"/>
          <ac:spMkLst>
            <pc:docMk/>
            <pc:sldMk cId="1487440770" sldId="4491"/>
            <ac:spMk id="3" creationId="{10A336F2-66C8-56E7-DEC1-1F9873ED4ADF}"/>
          </ac:spMkLst>
        </pc:spChg>
        <pc:spChg chg="add mod">
          <ac:chgData name="Polanco Zanetta, Sebastian" userId="679afde1-f2ca-45a1-83ca-bc48414eb788" providerId="ADAL" clId="{7F2DE69D-8C9F-4CB1-8222-8CA7389F170C}" dt="2025-05-07T16:56:37.813" v="17916"/>
          <ac:spMkLst>
            <pc:docMk/>
            <pc:sldMk cId="1487440770" sldId="4491"/>
            <ac:spMk id="5" creationId="{BF5247B1-38BC-3E17-5A0C-ED7CC0EB4AA0}"/>
          </ac:spMkLst>
        </pc:spChg>
        <pc:spChg chg="mod">
          <ac:chgData name="Polanco Zanetta, Sebastian" userId="679afde1-f2ca-45a1-83ca-bc48414eb788" providerId="ADAL" clId="{7F2DE69D-8C9F-4CB1-8222-8CA7389F170C}" dt="2025-05-03T00:10:28.159" v="16635"/>
          <ac:spMkLst>
            <pc:docMk/>
            <pc:sldMk cId="1487440770" sldId="4491"/>
            <ac:spMk id="8" creationId="{08B006DB-8627-1C79-E070-93D5B2B994B2}"/>
          </ac:spMkLst>
        </pc:spChg>
        <pc:spChg chg="mod ord">
          <ac:chgData name="Polanco Zanetta, Sebastian" userId="679afde1-f2ca-45a1-83ca-bc48414eb788" providerId="ADAL" clId="{7F2DE69D-8C9F-4CB1-8222-8CA7389F170C}" dt="2025-05-03T00:10:28.159" v="16622"/>
          <ac:spMkLst>
            <pc:docMk/>
            <pc:sldMk cId="1487440770" sldId="4491"/>
            <ac:spMk id="10" creationId="{6B39C234-0FBE-19E7-E5FD-1A45F762B09A}"/>
          </ac:spMkLst>
        </pc:spChg>
        <pc:spChg chg="mod">
          <ac:chgData name="Polanco Zanetta, Sebastian" userId="679afde1-f2ca-45a1-83ca-bc48414eb788" providerId="ADAL" clId="{7F2DE69D-8C9F-4CB1-8222-8CA7389F170C}" dt="2025-05-03T00:10:28.159" v="16652"/>
          <ac:spMkLst>
            <pc:docMk/>
            <pc:sldMk cId="1487440770" sldId="4491"/>
            <ac:spMk id="12" creationId="{45B9942D-AB92-6A86-6C0D-2F02A550EC61}"/>
          </ac:spMkLst>
        </pc:spChg>
        <pc:spChg chg="mod">
          <ac:chgData name="Polanco Zanetta, Sebastian" userId="679afde1-f2ca-45a1-83ca-bc48414eb788" providerId="ADAL" clId="{7F2DE69D-8C9F-4CB1-8222-8CA7389F170C}" dt="2025-05-03T00:10:28.159" v="16653"/>
          <ac:spMkLst>
            <pc:docMk/>
            <pc:sldMk cId="1487440770" sldId="4491"/>
            <ac:spMk id="13" creationId="{D82F3C46-56B7-E92C-D58F-18DF6BECB175}"/>
          </ac:spMkLst>
        </pc:spChg>
        <pc:spChg chg="mod ord">
          <ac:chgData name="Polanco Zanetta, Sebastian" userId="679afde1-f2ca-45a1-83ca-bc48414eb788" providerId="ADAL" clId="{7F2DE69D-8C9F-4CB1-8222-8CA7389F170C}" dt="2025-05-03T00:10:28.144" v="16620"/>
          <ac:spMkLst>
            <pc:docMk/>
            <pc:sldMk cId="1487440770" sldId="4491"/>
            <ac:spMk id="18" creationId="{8035E710-3277-BF78-97F7-CD5FEA0CFCFA}"/>
          </ac:spMkLst>
        </pc:spChg>
        <pc:spChg chg="mod">
          <ac:chgData name="Polanco Zanetta, Sebastian" userId="679afde1-f2ca-45a1-83ca-bc48414eb788" providerId="ADAL" clId="{7F2DE69D-8C9F-4CB1-8222-8CA7389F170C}" dt="2025-05-03T00:10:38.629" v="16665" actId="20577"/>
          <ac:spMkLst>
            <pc:docMk/>
            <pc:sldMk cId="1487440770" sldId="4491"/>
            <ac:spMk id="28" creationId="{23F588F5-3A1B-87E4-14E1-2BB3596CDEF6}"/>
          </ac:spMkLst>
        </pc:spChg>
        <pc:spChg chg="mod">
          <ac:chgData name="Polanco Zanetta, Sebastian" userId="679afde1-f2ca-45a1-83ca-bc48414eb788" providerId="ADAL" clId="{7F2DE69D-8C9F-4CB1-8222-8CA7389F170C}" dt="2025-05-03T00:10:28.159" v="16637"/>
          <ac:spMkLst>
            <pc:docMk/>
            <pc:sldMk cId="1487440770" sldId="4491"/>
            <ac:spMk id="65" creationId="{7E48156E-6A95-A64B-8520-CD11DA6C5EEF}"/>
          </ac:spMkLst>
        </pc:spChg>
        <pc:spChg chg="mod">
          <ac:chgData name="Polanco Zanetta, Sebastian" userId="679afde1-f2ca-45a1-83ca-bc48414eb788" providerId="ADAL" clId="{7F2DE69D-8C9F-4CB1-8222-8CA7389F170C}" dt="2025-05-03T00:10:28.159" v="16638"/>
          <ac:spMkLst>
            <pc:docMk/>
            <pc:sldMk cId="1487440770" sldId="4491"/>
            <ac:spMk id="67" creationId="{7E48156E-6A95-A64B-8520-CD11DA6C5EEF}"/>
          </ac:spMkLst>
        </pc:spChg>
        <pc:spChg chg="mod">
          <ac:chgData name="Polanco Zanetta, Sebastian" userId="679afde1-f2ca-45a1-83ca-bc48414eb788" providerId="ADAL" clId="{7F2DE69D-8C9F-4CB1-8222-8CA7389F170C}" dt="2025-05-03T00:10:28.159" v="16639"/>
          <ac:spMkLst>
            <pc:docMk/>
            <pc:sldMk cId="1487440770" sldId="4491"/>
            <ac:spMk id="68" creationId="{7E48156E-6A95-A64B-8520-CD11DA6C5EEF}"/>
          </ac:spMkLst>
        </pc:spChg>
        <pc:spChg chg="mod">
          <ac:chgData name="Polanco Zanetta, Sebastian" userId="679afde1-f2ca-45a1-83ca-bc48414eb788" providerId="ADAL" clId="{7F2DE69D-8C9F-4CB1-8222-8CA7389F170C}" dt="2025-05-03T00:10:28.159" v="16640"/>
          <ac:spMkLst>
            <pc:docMk/>
            <pc:sldMk cId="1487440770" sldId="4491"/>
            <ac:spMk id="69" creationId="{7E48156E-6A95-A64B-8520-CD11DA6C5EEF}"/>
          </ac:spMkLst>
        </pc:spChg>
        <pc:spChg chg="mod">
          <ac:chgData name="Polanco Zanetta, Sebastian" userId="679afde1-f2ca-45a1-83ca-bc48414eb788" providerId="ADAL" clId="{7F2DE69D-8C9F-4CB1-8222-8CA7389F170C}" dt="2025-05-03T00:10:28.159" v="16641"/>
          <ac:spMkLst>
            <pc:docMk/>
            <pc:sldMk cId="1487440770" sldId="4491"/>
            <ac:spMk id="70" creationId="{7E48156E-6A95-A64B-8520-CD11DA6C5EEF}"/>
          </ac:spMkLst>
        </pc:spChg>
        <pc:spChg chg="mod ord">
          <ac:chgData name="Polanco Zanetta, Sebastian" userId="679afde1-f2ca-45a1-83ca-bc48414eb788" providerId="ADAL" clId="{7F2DE69D-8C9F-4CB1-8222-8CA7389F170C}" dt="2025-05-07T04:24:58.267" v="17742" actId="20577"/>
          <ac:spMkLst>
            <pc:docMk/>
            <pc:sldMk cId="1487440770" sldId="4491"/>
            <ac:spMk id="73" creationId="{16197363-1139-32D2-8E00-C9717C1176F5}"/>
          </ac:spMkLst>
        </pc:spChg>
        <pc:spChg chg="mod">
          <ac:chgData name="Polanco Zanetta, Sebastian" userId="679afde1-f2ca-45a1-83ca-bc48414eb788" providerId="ADAL" clId="{7F2DE69D-8C9F-4CB1-8222-8CA7389F170C}" dt="2025-05-03T00:10:28.159" v="16643"/>
          <ac:spMkLst>
            <pc:docMk/>
            <pc:sldMk cId="1487440770" sldId="4491"/>
            <ac:spMk id="79" creationId="{7E48156E-6A95-A64B-8520-CD11DA6C5EEF}"/>
          </ac:spMkLst>
        </pc:spChg>
        <pc:spChg chg="mod">
          <ac:chgData name="Polanco Zanetta, Sebastian" userId="679afde1-f2ca-45a1-83ca-bc48414eb788" providerId="ADAL" clId="{7F2DE69D-8C9F-4CB1-8222-8CA7389F170C}" dt="2025-05-03T00:10:28.159" v="16644"/>
          <ac:spMkLst>
            <pc:docMk/>
            <pc:sldMk cId="1487440770" sldId="4491"/>
            <ac:spMk id="81" creationId="{7E48156E-6A95-A64B-8520-CD11DA6C5EEF}"/>
          </ac:spMkLst>
        </pc:spChg>
        <pc:spChg chg="mod">
          <ac:chgData name="Polanco Zanetta, Sebastian" userId="679afde1-f2ca-45a1-83ca-bc48414eb788" providerId="ADAL" clId="{7F2DE69D-8C9F-4CB1-8222-8CA7389F170C}" dt="2025-05-03T00:10:28.159" v="16645"/>
          <ac:spMkLst>
            <pc:docMk/>
            <pc:sldMk cId="1487440770" sldId="4491"/>
            <ac:spMk id="82" creationId="{7E48156E-6A95-A64B-8520-CD11DA6C5EEF}"/>
          </ac:spMkLst>
        </pc:spChg>
        <pc:spChg chg="mod">
          <ac:chgData name="Polanco Zanetta, Sebastian" userId="679afde1-f2ca-45a1-83ca-bc48414eb788" providerId="ADAL" clId="{7F2DE69D-8C9F-4CB1-8222-8CA7389F170C}" dt="2025-05-03T00:10:28.159" v="16646"/>
          <ac:spMkLst>
            <pc:docMk/>
            <pc:sldMk cId="1487440770" sldId="4491"/>
            <ac:spMk id="83" creationId="{7E48156E-6A95-A64B-8520-CD11DA6C5EEF}"/>
          </ac:spMkLst>
        </pc:spChg>
        <pc:spChg chg="mod">
          <ac:chgData name="Polanco Zanetta, Sebastian" userId="679afde1-f2ca-45a1-83ca-bc48414eb788" providerId="ADAL" clId="{7F2DE69D-8C9F-4CB1-8222-8CA7389F170C}" dt="2025-05-03T00:10:28.159" v="16647"/>
          <ac:spMkLst>
            <pc:docMk/>
            <pc:sldMk cId="1487440770" sldId="4491"/>
            <ac:spMk id="84" creationId="{7E48156E-6A95-A64B-8520-CD11DA6C5EEF}"/>
          </ac:spMkLst>
        </pc:spChg>
        <pc:graphicFrameChg chg="mod">
          <ac:chgData name="Polanco Zanetta, Sebastian" userId="679afde1-f2ca-45a1-83ca-bc48414eb788" providerId="ADAL" clId="{7F2DE69D-8C9F-4CB1-8222-8CA7389F170C}" dt="2025-05-03T00:10:28.159" v="16662"/>
          <ac:graphicFrameMkLst>
            <pc:docMk/>
            <pc:sldMk cId="1487440770" sldId="4491"/>
            <ac:graphicFrameMk id="7" creationId="{09519310-A3B5-0B0E-3D8D-BD12CB6BC32C}"/>
          </ac:graphicFrameMkLst>
        </pc:graphicFrameChg>
        <pc:graphicFrameChg chg="add mod">
          <ac:chgData name="Polanco Zanetta, Sebastian" userId="679afde1-f2ca-45a1-83ca-bc48414eb788" providerId="ADAL" clId="{7F2DE69D-8C9F-4CB1-8222-8CA7389F170C}" dt="2025-05-03T00:10:28.159" v="16642"/>
          <ac:graphicFrameMkLst>
            <pc:docMk/>
            <pc:sldMk cId="1487440770" sldId="4491"/>
            <ac:graphicFrameMk id="36" creationId="{20B7C3F6-32FD-4488-F995-EAD196C1D500}"/>
          </ac:graphicFrameMkLst>
        </pc:graphicFrameChg>
        <pc:picChg chg="mod ord">
          <ac:chgData name="Polanco Zanetta, Sebastian" userId="679afde1-f2ca-45a1-83ca-bc48414eb788" providerId="ADAL" clId="{7F2DE69D-8C9F-4CB1-8222-8CA7389F170C}" dt="2025-05-03T00:10:28.159" v="16624"/>
          <ac:picMkLst>
            <pc:docMk/>
            <pc:sldMk cId="1487440770" sldId="4491"/>
            <ac:picMk id="4" creationId="{D37E305E-516B-5628-C6B2-87C04A81DA4F}"/>
          </ac:picMkLst>
        </pc:picChg>
        <pc:picChg chg="mod ord">
          <ac:chgData name="Polanco Zanetta, Sebastian" userId="679afde1-f2ca-45a1-83ca-bc48414eb788" providerId="ADAL" clId="{7F2DE69D-8C9F-4CB1-8222-8CA7389F170C}" dt="2025-05-03T00:10:28.159" v="16651"/>
          <ac:picMkLst>
            <pc:docMk/>
            <pc:sldMk cId="1487440770" sldId="4491"/>
            <ac:picMk id="11" creationId="{24595E99-E83B-1D64-6DEF-99D0AF76A691}"/>
          </ac:picMkLst>
        </pc:picChg>
        <pc:picChg chg="mod ord">
          <ac:chgData name="Polanco Zanetta, Sebastian" userId="679afde1-f2ca-45a1-83ca-bc48414eb788" providerId="ADAL" clId="{7F2DE69D-8C9F-4CB1-8222-8CA7389F170C}" dt="2025-05-03T00:10:28.159" v="16655"/>
          <ac:picMkLst>
            <pc:docMk/>
            <pc:sldMk cId="1487440770" sldId="4491"/>
            <ac:picMk id="27" creationId="{CA61CBEA-B7AB-B572-49F6-AA2405A3C185}"/>
          </ac:picMkLst>
        </pc:picChg>
        <pc:picChg chg="mod ord">
          <ac:chgData name="Polanco Zanetta, Sebastian" userId="679afde1-f2ca-45a1-83ca-bc48414eb788" providerId="ADAL" clId="{7F2DE69D-8C9F-4CB1-8222-8CA7389F170C}" dt="2025-05-03T00:10:28.159" v="16628"/>
          <ac:picMkLst>
            <pc:docMk/>
            <pc:sldMk cId="1487440770" sldId="4491"/>
            <ac:picMk id="74" creationId="{F0E66704-FF7B-4255-C512-042341EC1501}"/>
          </ac:picMkLst>
        </pc:picChg>
        <pc:picChg chg="mod ord">
          <ac:chgData name="Polanco Zanetta, Sebastian" userId="679afde1-f2ca-45a1-83ca-bc48414eb788" providerId="ADAL" clId="{7F2DE69D-8C9F-4CB1-8222-8CA7389F170C}" dt="2025-05-03T00:10:28.159" v="16630"/>
          <ac:picMkLst>
            <pc:docMk/>
            <pc:sldMk cId="1487440770" sldId="4491"/>
            <ac:picMk id="75" creationId="{12DA33B0-2DF0-C92C-116C-600561AD050D}"/>
          </ac:picMkLst>
        </pc:picChg>
        <pc:picChg chg="mod ord">
          <ac:chgData name="Polanco Zanetta, Sebastian" userId="679afde1-f2ca-45a1-83ca-bc48414eb788" providerId="ADAL" clId="{7F2DE69D-8C9F-4CB1-8222-8CA7389F170C}" dt="2025-05-03T00:10:28.159" v="16632"/>
          <ac:picMkLst>
            <pc:docMk/>
            <pc:sldMk cId="1487440770" sldId="4491"/>
            <ac:picMk id="90" creationId="{26E2F729-8346-B707-9945-69C0E819685A}"/>
          </ac:picMkLst>
        </pc:picChg>
        <pc:picChg chg="mod ord">
          <ac:chgData name="Polanco Zanetta, Sebastian" userId="679afde1-f2ca-45a1-83ca-bc48414eb788" providerId="ADAL" clId="{7F2DE69D-8C9F-4CB1-8222-8CA7389F170C}" dt="2025-05-03T00:10:28.159" v="16634"/>
          <ac:picMkLst>
            <pc:docMk/>
            <pc:sldMk cId="1487440770" sldId="4491"/>
            <ac:picMk id="94" creationId="{A0D88AF8-6B32-A2C0-B1E7-D2ED47476318}"/>
          </ac:picMkLst>
        </pc:picChg>
      </pc:sldChg>
      <pc:sldChg chg="addSp delSp modSp mod">
        <pc:chgData name="Polanco Zanetta, Sebastian" userId="679afde1-f2ca-45a1-83ca-bc48414eb788" providerId="ADAL" clId="{7F2DE69D-8C9F-4CB1-8222-8CA7389F170C}" dt="2025-05-07T04:26:32.057" v="17792" actId="20577"/>
        <pc:sldMkLst>
          <pc:docMk/>
          <pc:sldMk cId="3588734151" sldId="4492"/>
        </pc:sldMkLst>
        <pc:spChg chg="mod ord">
          <ac:chgData name="Polanco Zanetta, Sebastian" userId="679afde1-f2ca-45a1-83ca-bc48414eb788" providerId="ADAL" clId="{7F2DE69D-8C9F-4CB1-8222-8CA7389F170C}" dt="2025-05-02T21:10:40.491" v="14183"/>
          <ac:spMkLst>
            <pc:docMk/>
            <pc:sldMk cId="3588734151" sldId="4492"/>
            <ac:spMk id="2" creationId="{D582C5A3-95A7-C0D3-A786-495E259F19F7}"/>
          </ac:spMkLst>
        </pc:spChg>
        <pc:spChg chg="mod ord">
          <ac:chgData name="Polanco Zanetta, Sebastian" userId="679afde1-f2ca-45a1-83ca-bc48414eb788" providerId="ADAL" clId="{7F2DE69D-8C9F-4CB1-8222-8CA7389F170C}" dt="2025-05-02T21:10:40.491" v="14181"/>
          <ac:spMkLst>
            <pc:docMk/>
            <pc:sldMk cId="3588734151" sldId="4492"/>
            <ac:spMk id="3" creationId="{3ECA1541-688F-B5E7-50D7-72919A285BA4}"/>
          </ac:spMkLst>
        </pc:spChg>
        <pc:spChg chg="mod">
          <ac:chgData name="Polanco Zanetta, Sebastian" userId="679afde1-f2ca-45a1-83ca-bc48414eb788" providerId="ADAL" clId="{7F2DE69D-8C9F-4CB1-8222-8CA7389F170C}" dt="2025-05-02T21:10:40.491" v="14170"/>
          <ac:spMkLst>
            <pc:docMk/>
            <pc:sldMk cId="3588734151" sldId="4492"/>
            <ac:spMk id="18" creationId="{1C9608CD-B63B-97F5-5CD7-110FE888B541}"/>
          </ac:spMkLst>
        </pc:spChg>
        <pc:spChg chg="mod">
          <ac:chgData name="Polanco Zanetta, Sebastian" userId="679afde1-f2ca-45a1-83ca-bc48414eb788" providerId="ADAL" clId="{7F2DE69D-8C9F-4CB1-8222-8CA7389F170C}" dt="2025-05-02T21:10:40.491" v="14169"/>
          <ac:spMkLst>
            <pc:docMk/>
            <pc:sldMk cId="3588734151" sldId="4492"/>
            <ac:spMk id="19" creationId="{6FB274BF-95B4-08E3-CB2A-D2202F6AE7E7}"/>
          </ac:spMkLst>
        </pc:spChg>
        <pc:spChg chg="mod">
          <ac:chgData name="Polanco Zanetta, Sebastian" userId="679afde1-f2ca-45a1-83ca-bc48414eb788" providerId="ADAL" clId="{7F2DE69D-8C9F-4CB1-8222-8CA7389F170C}" dt="2025-05-02T21:10:40.491" v="14168"/>
          <ac:spMkLst>
            <pc:docMk/>
            <pc:sldMk cId="3588734151" sldId="4492"/>
            <ac:spMk id="20" creationId="{576AB23E-2E28-E89A-2817-FE655EFD8D94}"/>
          </ac:spMkLst>
        </pc:spChg>
        <pc:spChg chg="mod ord">
          <ac:chgData name="Polanco Zanetta, Sebastian" userId="679afde1-f2ca-45a1-83ca-bc48414eb788" providerId="ADAL" clId="{7F2DE69D-8C9F-4CB1-8222-8CA7389F170C}" dt="2025-05-02T21:10:40.489" v="14167"/>
          <ac:spMkLst>
            <pc:docMk/>
            <pc:sldMk cId="3588734151" sldId="4492"/>
            <ac:spMk id="21" creationId="{1833C855-E43A-B583-8AFD-ED8D3A5DF379}"/>
          </ac:spMkLst>
        </pc:spChg>
        <pc:spChg chg="mod">
          <ac:chgData name="Polanco Zanetta, Sebastian" userId="679afde1-f2ca-45a1-83ca-bc48414eb788" providerId="ADAL" clId="{7F2DE69D-8C9F-4CB1-8222-8CA7389F170C}" dt="2025-05-02T21:10:40.489" v="14165"/>
          <ac:spMkLst>
            <pc:docMk/>
            <pc:sldMk cId="3588734151" sldId="4492"/>
            <ac:spMk id="22" creationId="{7E965BC1-D0E8-F348-D370-0927DE0C51A7}"/>
          </ac:spMkLst>
        </pc:spChg>
        <pc:spChg chg="mod">
          <ac:chgData name="Polanco Zanetta, Sebastian" userId="679afde1-f2ca-45a1-83ca-bc48414eb788" providerId="ADAL" clId="{7F2DE69D-8C9F-4CB1-8222-8CA7389F170C}" dt="2025-05-02T21:10:40.481" v="14160"/>
          <ac:spMkLst>
            <pc:docMk/>
            <pc:sldMk cId="3588734151" sldId="4492"/>
            <ac:spMk id="23" creationId="{328BE3A9-CCA5-3A57-83E6-CE390B3FFA2C}"/>
          </ac:spMkLst>
        </pc:spChg>
        <pc:spChg chg="mod ord">
          <ac:chgData name="Polanco Zanetta, Sebastian" userId="679afde1-f2ca-45a1-83ca-bc48414eb788" providerId="ADAL" clId="{7F2DE69D-8C9F-4CB1-8222-8CA7389F170C}" dt="2025-05-02T21:10:40.481" v="14159"/>
          <ac:spMkLst>
            <pc:docMk/>
            <pc:sldMk cId="3588734151" sldId="4492"/>
            <ac:spMk id="24" creationId="{48578A17-ED80-12C7-81D5-95C14AABDDD4}"/>
          </ac:spMkLst>
        </pc:spChg>
        <pc:spChg chg="mod">
          <ac:chgData name="Polanco Zanetta, Sebastian" userId="679afde1-f2ca-45a1-83ca-bc48414eb788" providerId="ADAL" clId="{7F2DE69D-8C9F-4CB1-8222-8CA7389F170C}" dt="2025-05-02T21:10:40.481" v="14157"/>
          <ac:spMkLst>
            <pc:docMk/>
            <pc:sldMk cId="3588734151" sldId="4492"/>
            <ac:spMk id="25" creationId="{9D3BED3E-A668-AACF-4176-AE7D63F5779D}"/>
          </ac:spMkLst>
        </pc:spChg>
        <pc:spChg chg="mod">
          <ac:chgData name="Polanco Zanetta, Sebastian" userId="679afde1-f2ca-45a1-83ca-bc48414eb788" providerId="ADAL" clId="{7F2DE69D-8C9F-4CB1-8222-8CA7389F170C}" dt="2025-05-02T21:10:40.481" v="14154"/>
          <ac:spMkLst>
            <pc:docMk/>
            <pc:sldMk cId="3588734151" sldId="4492"/>
            <ac:spMk id="26" creationId="{3731F9F4-3C79-40EF-3B12-4D9D9A4FA7DC}"/>
          </ac:spMkLst>
        </pc:spChg>
        <pc:spChg chg="mod">
          <ac:chgData name="Polanco Zanetta, Sebastian" userId="679afde1-f2ca-45a1-83ca-bc48414eb788" providerId="ADAL" clId="{7F2DE69D-8C9F-4CB1-8222-8CA7389F170C}" dt="2025-05-02T21:10:40.481" v="14153"/>
          <ac:spMkLst>
            <pc:docMk/>
            <pc:sldMk cId="3588734151" sldId="4492"/>
            <ac:spMk id="27" creationId="{CE5285EA-5A2E-56F6-7E55-E4C443E0A6CE}"/>
          </ac:spMkLst>
        </pc:spChg>
        <pc:spChg chg="mod">
          <ac:chgData name="Polanco Zanetta, Sebastian" userId="679afde1-f2ca-45a1-83ca-bc48414eb788" providerId="ADAL" clId="{7F2DE69D-8C9F-4CB1-8222-8CA7389F170C}" dt="2025-05-02T21:10:40.491" v="14171"/>
          <ac:spMkLst>
            <pc:docMk/>
            <pc:sldMk cId="3588734151" sldId="4492"/>
            <ac:spMk id="34" creationId="{4437F47D-DF4B-6736-BD79-86428FDFCBDA}"/>
          </ac:spMkLst>
        </pc:spChg>
        <pc:spChg chg="mod ord">
          <ac:chgData name="Polanco Zanetta, Sebastian" userId="679afde1-f2ca-45a1-83ca-bc48414eb788" providerId="ADAL" clId="{7F2DE69D-8C9F-4CB1-8222-8CA7389F170C}" dt="2025-05-02T21:10:40.471" v="14115"/>
          <ac:spMkLst>
            <pc:docMk/>
            <pc:sldMk cId="3588734151" sldId="4492"/>
            <ac:spMk id="38" creationId="{5888C14E-C847-3D89-E700-B72718512160}"/>
          </ac:spMkLst>
        </pc:spChg>
        <pc:spChg chg="mod ord">
          <ac:chgData name="Polanco Zanetta, Sebastian" userId="679afde1-f2ca-45a1-83ca-bc48414eb788" providerId="ADAL" clId="{7F2DE69D-8C9F-4CB1-8222-8CA7389F170C}" dt="2025-05-07T04:26:32.057" v="17792" actId="20577"/>
          <ac:spMkLst>
            <pc:docMk/>
            <pc:sldMk cId="3588734151" sldId="4492"/>
            <ac:spMk id="39" creationId="{C5C632ED-F0C9-5F91-6E50-42894B45EE59}"/>
          </ac:spMkLst>
        </pc:spChg>
        <pc:spChg chg="mod ord">
          <ac:chgData name="Polanco Zanetta, Sebastian" userId="679afde1-f2ca-45a1-83ca-bc48414eb788" providerId="ADAL" clId="{7F2DE69D-8C9F-4CB1-8222-8CA7389F170C}" dt="2025-05-02T21:10:40.491" v="14175"/>
          <ac:spMkLst>
            <pc:docMk/>
            <pc:sldMk cId="3588734151" sldId="4492"/>
            <ac:spMk id="40" creationId="{5CD10536-702D-8D36-2990-900D938B40F7}"/>
          </ac:spMkLst>
        </pc:spChg>
        <pc:spChg chg="mod ord">
          <ac:chgData name="Polanco Zanetta, Sebastian" userId="679afde1-f2ca-45a1-83ca-bc48414eb788" providerId="ADAL" clId="{7F2DE69D-8C9F-4CB1-8222-8CA7389F170C}" dt="2025-05-02T21:10:40.481" v="14156"/>
          <ac:spMkLst>
            <pc:docMk/>
            <pc:sldMk cId="3588734151" sldId="4492"/>
            <ac:spMk id="41" creationId="{7E48156E-6A95-A64B-8520-CD11DA6C5EEF}"/>
          </ac:spMkLst>
        </pc:spChg>
        <pc:spChg chg="mod ord">
          <ac:chgData name="Polanco Zanetta, Sebastian" userId="679afde1-f2ca-45a1-83ca-bc48414eb788" providerId="ADAL" clId="{7F2DE69D-8C9F-4CB1-8222-8CA7389F170C}" dt="2025-05-03T00:13:22.480" v="16692" actId="20577"/>
          <ac:spMkLst>
            <pc:docMk/>
            <pc:sldMk cId="3588734151" sldId="4492"/>
            <ac:spMk id="44" creationId="{1B7B0060-1FD7-E355-E75A-929F86A31B7E}"/>
          </ac:spMkLst>
        </pc:spChg>
        <pc:spChg chg="mod ord">
          <ac:chgData name="Polanco Zanetta, Sebastian" userId="679afde1-f2ca-45a1-83ca-bc48414eb788" providerId="ADAL" clId="{7F2DE69D-8C9F-4CB1-8222-8CA7389F170C}" dt="2025-05-03T00:13:16.766" v="16691"/>
          <ac:spMkLst>
            <pc:docMk/>
            <pc:sldMk cId="3588734151" sldId="4492"/>
            <ac:spMk id="48" creationId="{F7E27F8D-9E9F-34FC-FAED-6DEC59F7549F}"/>
          </ac:spMkLst>
        </pc:spChg>
        <pc:spChg chg="mod ord">
          <ac:chgData name="Polanco Zanetta, Sebastian" userId="679afde1-f2ca-45a1-83ca-bc48414eb788" providerId="ADAL" clId="{7F2DE69D-8C9F-4CB1-8222-8CA7389F170C}" dt="2025-05-02T21:10:40.489" v="14164"/>
          <ac:spMkLst>
            <pc:docMk/>
            <pc:sldMk cId="3588734151" sldId="4492"/>
            <ac:spMk id="54" creationId="{7E48156E-6A95-A64B-8520-CD11DA6C5EEF}"/>
          </ac:spMkLst>
        </pc:spChg>
        <pc:spChg chg="mod ord">
          <ac:chgData name="Polanco Zanetta, Sebastian" userId="679afde1-f2ca-45a1-83ca-bc48414eb788" providerId="ADAL" clId="{7F2DE69D-8C9F-4CB1-8222-8CA7389F170C}" dt="2025-05-02T21:10:40.481" v="14131"/>
          <ac:spMkLst>
            <pc:docMk/>
            <pc:sldMk cId="3588734151" sldId="4492"/>
            <ac:spMk id="55" creationId="{619D340A-A5BA-4DF7-63CF-5AEE6F7C42F6}"/>
          </ac:spMkLst>
        </pc:spChg>
        <pc:spChg chg="mod">
          <ac:chgData name="Polanco Zanetta, Sebastian" userId="679afde1-f2ca-45a1-83ca-bc48414eb788" providerId="ADAL" clId="{7F2DE69D-8C9F-4CB1-8222-8CA7389F170C}" dt="2025-05-02T21:10:40.489" v="14161"/>
          <ac:spMkLst>
            <pc:docMk/>
            <pc:sldMk cId="3588734151" sldId="4492"/>
            <ac:spMk id="63" creationId="{7E48156E-6A95-A64B-8520-CD11DA6C5EEF}"/>
          </ac:spMkLst>
        </pc:spChg>
        <pc:spChg chg="mod">
          <ac:chgData name="Polanco Zanetta, Sebastian" userId="679afde1-f2ca-45a1-83ca-bc48414eb788" providerId="ADAL" clId="{7F2DE69D-8C9F-4CB1-8222-8CA7389F170C}" dt="2025-05-02T21:10:40.489" v="14162"/>
          <ac:spMkLst>
            <pc:docMk/>
            <pc:sldMk cId="3588734151" sldId="4492"/>
            <ac:spMk id="65" creationId="{7E48156E-6A95-A64B-8520-CD11DA6C5EEF}"/>
          </ac:spMkLst>
        </pc:spChg>
        <pc:graphicFrameChg chg="mod">
          <ac:chgData name="Polanco Zanetta, Sebastian" userId="679afde1-f2ca-45a1-83ca-bc48414eb788" providerId="ADAL" clId="{7F2DE69D-8C9F-4CB1-8222-8CA7389F170C}" dt="2025-05-02T21:10:40.491" v="14187"/>
          <ac:graphicFrameMkLst>
            <pc:docMk/>
            <pc:sldMk cId="3588734151" sldId="4492"/>
            <ac:graphicFrameMk id="7" creationId="{FC72A999-046F-48D0-9C93-361ADD5CEE45}"/>
          </ac:graphicFrameMkLst>
        </pc:graphicFrameChg>
        <pc:cxnChg chg="mod ord">
          <ac:chgData name="Polanco Zanetta, Sebastian" userId="679afde1-f2ca-45a1-83ca-bc48414eb788" providerId="ADAL" clId="{7F2DE69D-8C9F-4CB1-8222-8CA7389F170C}" dt="2025-05-02T21:10:40.481" v="14129"/>
          <ac:cxnSpMkLst>
            <pc:docMk/>
            <pc:sldMk cId="3588734151" sldId="4492"/>
            <ac:cxnSpMk id="4" creationId="{417F008D-F280-0036-21A0-5C8A3B95DD8C}"/>
          </ac:cxnSpMkLst>
        </pc:cxnChg>
        <pc:cxnChg chg="mod ord">
          <ac:chgData name="Polanco Zanetta, Sebastian" userId="679afde1-f2ca-45a1-83ca-bc48414eb788" providerId="ADAL" clId="{7F2DE69D-8C9F-4CB1-8222-8CA7389F170C}" dt="2025-05-02T21:10:40.479" v="14127"/>
          <ac:cxnSpMkLst>
            <pc:docMk/>
            <pc:sldMk cId="3588734151" sldId="4492"/>
            <ac:cxnSpMk id="5" creationId="{231FD766-2D94-82C5-0FB2-80E0CFADB14D}"/>
          </ac:cxnSpMkLst>
        </pc:cxnChg>
        <pc:cxnChg chg="mod ord">
          <ac:chgData name="Polanco Zanetta, Sebastian" userId="679afde1-f2ca-45a1-83ca-bc48414eb788" providerId="ADAL" clId="{7F2DE69D-8C9F-4CB1-8222-8CA7389F170C}" dt="2025-05-02T21:10:40.479" v="14125"/>
          <ac:cxnSpMkLst>
            <pc:docMk/>
            <pc:sldMk cId="3588734151" sldId="4492"/>
            <ac:cxnSpMk id="6" creationId="{463F4CCC-CAA0-E3A4-630D-DC54D92DFED2}"/>
          </ac:cxnSpMkLst>
        </pc:cxnChg>
        <pc:cxnChg chg="mod ord">
          <ac:chgData name="Polanco Zanetta, Sebastian" userId="679afde1-f2ca-45a1-83ca-bc48414eb788" providerId="ADAL" clId="{7F2DE69D-8C9F-4CB1-8222-8CA7389F170C}" dt="2025-05-02T21:10:40.479" v="14123"/>
          <ac:cxnSpMkLst>
            <pc:docMk/>
            <pc:sldMk cId="3588734151" sldId="4492"/>
            <ac:cxnSpMk id="8" creationId="{89753DCC-F744-98D8-8D90-B999AC9EE64F}"/>
          </ac:cxnSpMkLst>
        </pc:cxnChg>
        <pc:cxnChg chg="mod ord">
          <ac:chgData name="Polanco Zanetta, Sebastian" userId="679afde1-f2ca-45a1-83ca-bc48414eb788" providerId="ADAL" clId="{7F2DE69D-8C9F-4CB1-8222-8CA7389F170C}" dt="2025-05-02T21:10:40.479" v="14121"/>
          <ac:cxnSpMkLst>
            <pc:docMk/>
            <pc:sldMk cId="3588734151" sldId="4492"/>
            <ac:cxnSpMk id="9" creationId="{CD832CF7-1EC7-23F9-947B-8D31604EEC84}"/>
          </ac:cxnSpMkLst>
        </pc:cxnChg>
        <pc:cxnChg chg="mod ord">
          <ac:chgData name="Polanco Zanetta, Sebastian" userId="679afde1-f2ca-45a1-83ca-bc48414eb788" providerId="ADAL" clId="{7F2DE69D-8C9F-4CB1-8222-8CA7389F170C}" dt="2025-05-02T21:10:40.471" v="14119"/>
          <ac:cxnSpMkLst>
            <pc:docMk/>
            <pc:sldMk cId="3588734151" sldId="4492"/>
            <ac:cxnSpMk id="10" creationId="{51A60A02-D179-99E9-7C14-483DD737EDF1}"/>
          </ac:cxnSpMkLst>
        </pc:cxnChg>
        <pc:cxnChg chg="mod ord">
          <ac:chgData name="Polanco Zanetta, Sebastian" userId="679afde1-f2ca-45a1-83ca-bc48414eb788" providerId="ADAL" clId="{7F2DE69D-8C9F-4CB1-8222-8CA7389F170C}" dt="2025-05-02T21:10:40.471" v="14117"/>
          <ac:cxnSpMkLst>
            <pc:docMk/>
            <pc:sldMk cId="3588734151" sldId="4492"/>
            <ac:cxnSpMk id="11" creationId="{7B514076-6C32-89CA-38F7-5F6AE26E348F}"/>
          </ac:cxnSpMkLst>
        </pc:cxnChg>
        <pc:cxnChg chg="mod ord">
          <ac:chgData name="Polanco Zanetta, Sebastian" userId="679afde1-f2ca-45a1-83ca-bc48414eb788" providerId="ADAL" clId="{7F2DE69D-8C9F-4CB1-8222-8CA7389F170C}" dt="2025-05-02T21:10:40.481" v="14152"/>
          <ac:cxnSpMkLst>
            <pc:docMk/>
            <pc:sldMk cId="3588734151" sldId="4492"/>
            <ac:cxnSpMk id="15" creationId="{19A9279C-F005-7E6C-4445-3B37E91A2F67}"/>
          </ac:cxnSpMkLst>
        </pc:cxnChg>
        <pc:cxnChg chg="mod ord">
          <ac:chgData name="Polanco Zanetta, Sebastian" userId="679afde1-f2ca-45a1-83ca-bc48414eb788" providerId="ADAL" clId="{7F2DE69D-8C9F-4CB1-8222-8CA7389F170C}" dt="2025-05-02T21:10:40.481" v="14146"/>
          <ac:cxnSpMkLst>
            <pc:docMk/>
            <pc:sldMk cId="3588734151" sldId="4492"/>
            <ac:cxnSpMk id="16" creationId="{A97EF869-80A5-97B1-14D9-05CF82129913}"/>
          </ac:cxnSpMkLst>
        </pc:cxnChg>
        <pc:cxnChg chg="mod ord">
          <ac:chgData name="Polanco Zanetta, Sebastian" userId="679afde1-f2ca-45a1-83ca-bc48414eb788" providerId="ADAL" clId="{7F2DE69D-8C9F-4CB1-8222-8CA7389F170C}" dt="2025-05-02T21:10:40.481" v="14150"/>
          <ac:cxnSpMkLst>
            <pc:docMk/>
            <pc:sldMk cId="3588734151" sldId="4492"/>
            <ac:cxnSpMk id="17" creationId="{21884691-9A81-ABA6-77EE-D4BBD3BA8F68}"/>
          </ac:cxnSpMkLst>
        </pc:cxnChg>
        <pc:cxnChg chg="mod ord">
          <ac:chgData name="Polanco Zanetta, Sebastian" userId="679afde1-f2ca-45a1-83ca-bc48414eb788" providerId="ADAL" clId="{7F2DE69D-8C9F-4CB1-8222-8CA7389F170C}" dt="2025-05-02T21:10:40.481" v="14148"/>
          <ac:cxnSpMkLst>
            <pc:docMk/>
            <pc:sldMk cId="3588734151" sldId="4492"/>
            <ac:cxnSpMk id="32" creationId="{1CBFF966-AB86-838E-07DF-ADF45F217682}"/>
          </ac:cxnSpMkLst>
        </pc:cxnChg>
      </pc:sldChg>
      <pc:sldChg chg="modSp mod">
        <pc:chgData name="Polanco Zanetta, Sebastian" userId="679afde1-f2ca-45a1-83ca-bc48414eb788" providerId="ADAL" clId="{7F2DE69D-8C9F-4CB1-8222-8CA7389F170C}" dt="2025-05-07T04:26:55.742" v="17799" actId="20577"/>
        <pc:sldMkLst>
          <pc:docMk/>
          <pc:sldMk cId="3666714324" sldId="4493"/>
        </pc:sldMkLst>
        <pc:spChg chg="mod">
          <ac:chgData name="Polanco Zanetta, Sebastian" userId="679afde1-f2ca-45a1-83ca-bc48414eb788" providerId="ADAL" clId="{7F2DE69D-8C9F-4CB1-8222-8CA7389F170C}" dt="2025-05-02T21:09:37.566" v="13457"/>
          <ac:spMkLst>
            <pc:docMk/>
            <pc:sldMk cId="3666714324" sldId="4493"/>
            <ac:spMk id="3" creationId="{1F5CE20F-11B9-2398-3D28-14CD11320932}"/>
          </ac:spMkLst>
        </pc:spChg>
        <pc:spChg chg="mod">
          <ac:chgData name="Polanco Zanetta, Sebastian" userId="679afde1-f2ca-45a1-83ca-bc48414eb788" providerId="ADAL" clId="{7F2DE69D-8C9F-4CB1-8222-8CA7389F170C}" dt="2025-05-02T21:45:44.494" v="16251" actId="20577"/>
          <ac:spMkLst>
            <pc:docMk/>
            <pc:sldMk cId="3666714324" sldId="4493"/>
            <ac:spMk id="23" creationId="{62FB5F46-45E3-1EB6-359E-E5619126CB3B}"/>
          </ac:spMkLst>
        </pc:spChg>
        <pc:spChg chg="mod">
          <ac:chgData name="Polanco Zanetta, Sebastian" userId="679afde1-f2ca-45a1-83ca-bc48414eb788" providerId="ADAL" clId="{7F2DE69D-8C9F-4CB1-8222-8CA7389F170C}" dt="2025-05-07T04:26:55.742" v="17799" actId="20577"/>
          <ac:spMkLst>
            <pc:docMk/>
            <pc:sldMk cId="3666714324" sldId="4493"/>
            <ac:spMk id="25" creationId="{C7BFE0A9-BA5D-4FAB-E1CF-3D2BB6AA656A}"/>
          </ac:spMkLst>
        </pc:spChg>
        <pc:spChg chg="mod">
          <ac:chgData name="Polanco Zanetta, Sebastian" userId="679afde1-f2ca-45a1-83ca-bc48414eb788" providerId="ADAL" clId="{7F2DE69D-8C9F-4CB1-8222-8CA7389F170C}" dt="2025-05-02T21:45:12.058" v="16229" actId="20577"/>
          <ac:spMkLst>
            <pc:docMk/>
            <pc:sldMk cId="3666714324" sldId="4493"/>
            <ac:spMk id="38" creationId="{75839018-1F4E-9B38-1F4E-7928DA094DC4}"/>
          </ac:spMkLst>
        </pc:spChg>
        <pc:graphicFrameChg chg="mod modGraphic">
          <ac:chgData name="Polanco Zanetta, Sebastian" userId="679afde1-f2ca-45a1-83ca-bc48414eb788" providerId="ADAL" clId="{7F2DE69D-8C9F-4CB1-8222-8CA7389F170C}" dt="2025-05-03T00:42:35.243" v="17102"/>
          <ac:graphicFrameMkLst>
            <pc:docMk/>
            <pc:sldMk cId="3666714324" sldId="4493"/>
            <ac:graphicFrameMk id="4" creationId="{AEC5350F-5B31-EF62-689B-6681B5188C65}"/>
          </ac:graphicFrameMkLst>
        </pc:graphicFrameChg>
        <pc:graphicFrameChg chg="mod modGraphic">
          <ac:chgData name="Polanco Zanetta, Sebastian" userId="679afde1-f2ca-45a1-83ca-bc48414eb788" providerId="ADAL" clId="{7F2DE69D-8C9F-4CB1-8222-8CA7389F170C}" dt="2025-05-03T00:42:30.877" v="17098"/>
          <ac:graphicFrameMkLst>
            <pc:docMk/>
            <pc:sldMk cId="3666714324" sldId="4493"/>
            <ac:graphicFrameMk id="6" creationId="{B39F64A4-752C-194B-2617-E6A98CDF7B15}"/>
          </ac:graphicFrameMkLst>
        </pc:graphicFrameChg>
      </pc:sldChg>
      <pc:sldChg chg="addSp delSp modSp mod">
        <pc:chgData name="Polanco Zanetta, Sebastian" userId="679afde1-f2ca-45a1-83ca-bc48414eb788" providerId="ADAL" clId="{7F2DE69D-8C9F-4CB1-8222-8CA7389F170C}" dt="2025-05-08T04:57:09.424" v="18022" actId="20577"/>
        <pc:sldMkLst>
          <pc:docMk/>
          <pc:sldMk cId="1800967396" sldId="4494"/>
        </pc:sldMkLst>
        <pc:spChg chg="mod">
          <ac:chgData name="Polanco Zanetta, Sebastian" userId="679afde1-f2ca-45a1-83ca-bc48414eb788" providerId="ADAL" clId="{7F2DE69D-8C9F-4CB1-8222-8CA7389F170C}" dt="2025-05-02T21:09:37.566" v="13457"/>
          <ac:spMkLst>
            <pc:docMk/>
            <pc:sldMk cId="1800967396" sldId="4494"/>
            <ac:spMk id="2" creationId="{052C5BF8-DCEE-FB6B-B3BE-10DA84334480}"/>
          </ac:spMkLst>
        </pc:spChg>
        <pc:spChg chg="mod">
          <ac:chgData name="Polanco Zanetta, Sebastian" userId="679afde1-f2ca-45a1-83ca-bc48414eb788" providerId="ADAL" clId="{7F2DE69D-8C9F-4CB1-8222-8CA7389F170C}" dt="2025-05-07T04:21:28.934" v="17597" actId="20577"/>
          <ac:spMkLst>
            <pc:docMk/>
            <pc:sldMk cId="1800967396" sldId="4494"/>
            <ac:spMk id="6" creationId="{5CC4EBB0-69BE-3BED-F9CA-DE9B58A2281D}"/>
          </ac:spMkLst>
        </pc:spChg>
        <pc:spChg chg="mod">
          <ac:chgData name="Polanco Zanetta, Sebastian" userId="679afde1-f2ca-45a1-83ca-bc48414eb788" providerId="ADAL" clId="{7F2DE69D-8C9F-4CB1-8222-8CA7389F170C}" dt="2025-05-07T02:00:10.439" v="17228" actId="20577"/>
          <ac:spMkLst>
            <pc:docMk/>
            <pc:sldMk cId="1800967396" sldId="4494"/>
            <ac:spMk id="7" creationId="{C209D468-DC7D-DD95-829E-E19BFB7BD496}"/>
          </ac:spMkLst>
        </pc:spChg>
        <pc:spChg chg="mod">
          <ac:chgData name="Polanco Zanetta, Sebastian" userId="679afde1-f2ca-45a1-83ca-bc48414eb788" providerId="ADAL" clId="{7F2DE69D-8C9F-4CB1-8222-8CA7389F170C}" dt="2025-05-07T04:21:57.332" v="17625" actId="20577"/>
          <ac:spMkLst>
            <pc:docMk/>
            <pc:sldMk cId="1800967396" sldId="4494"/>
            <ac:spMk id="22" creationId="{54D959A2-8656-6689-6B46-A6693EDDD304}"/>
          </ac:spMkLst>
        </pc:spChg>
        <pc:spChg chg="mod">
          <ac:chgData name="Polanco Zanetta, Sebastian" userId="679afde1-f2ca-45a1-83ca-bc48414eb788" providerId="ADAL" clId="{7F2DE69D-8C9F-4CB1-8222-8CA7389F170C}" dt="2025-05-07T04:21:33.002" v="17603" actId="20577"/>
          <ac:spMkLst>
            <pc:docMk/>
            <pc:sldMk cId="1800967396" sldId="4494"/>
            <ac:spMk id="23" creationId="{11779A6D-C527-3206-C8D5-7AC873714918}"/>
          </ac:spMkLst>
        </pc:spChg>
        <pc:spChg chg="mod">
          <ac:chgData name="Polanco Zanetta, Sebastian" userId="679afde1-f2ca-45a1-83ca-bc48414eb788" providerId="ADAL" clId="{7F2DE69D-8C9F-4CB1-8222-8CA7389F170C}" dt="2025-05-08T04:57:09.424" v="18022" actId="20577"/>
          <ac:spMkLst>
            <pc:docMk/>
            <pc:sldMk cId="1800967396" sldId="4494"/>
            <ac:spMk id="25" creationId="{149EFCCE-9E53-FCCB-20DB-97EC20B813FA}"/>
          </ac:spMkLst>
        </pc:spChg>
        <pc:spChg chg="mod">
          <ac:chgData name="Polanco Zanetta, Sebastian" userId="679afde1-f2ca-45a1-83ca-bc48414eb788" providerId="ADAL" clId="{7F2DE69D-8C9F-4CB1-8222-8CA7389F170C}" dt="2025-05-07T04:22:03.935" v="17626" actId="20577"/>
          <ac:spMkLst>
            <pc:docMk/>
            <pc:sldMk cId="1800967396" sldId="4494"/>
            <ac:spMk id="26" creationId="{9EAD071E-7D20-8767-16F3-FF8C9D0851D2}"/>
          </ac:spMkLst>
        </pc:spChg>
      </pc:sldChg>
      <pc:sldChg chg="addSp delSp modSp mod">
        <pc:chgData name="Polanco Zanetta, Sebastian" userId="679afde1-f2ca-45a1-83ca-bc48414eb788" providerId="ADAL" clId="{7F2DE69D-8C9F-4CB1-8222-8CA7389F170C}" dt="2025-05-07T16:56:49.219" v="17920"/>
        <pc:sldMkLst>
          <pc:docMk/>
          <pc:sldMk cId="55702016" sldId="4495"/>
        </pc:sldMkLst>
        <pc:spChg chg="mod">
          <ac:chgData name="Polanco Zanetta, Sebastian" userId="679afde1-f2ca-45a1-83ca-bc48414eb788" providerId="ADAL" clId="{7F2DE69D-8C9F-4CB1-8222-8CA7389F170C}" dt="2025-05-02T21:09:37.566" v="13457"/>
          <ac:spMkLst>
            <pc:docMk/>
            <pc:sldMk cId="55702016" sldId="4495"/>
            <ac:spMk id="2" creationId="{3A7EFEBB-7FB7-C3E8-9209-0A20864DE99F}"/>
          </ac:spMkLst>
        </pc:spChg>
        <pc:spChg chg="add mod">
          <ac:chgData name="Polanco Zanetta, Sebastian" userId="679afde1-f2ca-45a1-83ca-bc48414eb788" providerId="ADAL" clId="{7F2DE69D-8C9F-4CB1-8222-8CA7389F170C}" dt="2025-05-07T16:56:49.219" v="17920"/>
          <ac:spMkLst>
            <pc:docMk/>
            <pc:sldMk cId="55702016" sldId="4495"/>
            <ac:spMk id="4" creationId="{B5346584-1BDB-204A-C9B9-7312B2681D7F}"/>
          </ac:spMkLst>
        </pc:spChg>
        <pc:spChg chg="mod">
          <ac:chgData name="Polanco Zanetta, Sebastian" userId="679afde1-f2ca-45a1-83ca-bc48414eb788" providerId="ADAL" clId="{7F2DE69D-8C9F-4CB1-8222-8CA7389F170C}" dt="2025-05-07T04:28:22.786" v="17860" actId="20577"/>
          <ac:spMkLst>
            <pc:docMk/>
            <pc:sldMk cId="55702016" sldId="4495"/>
            <ac:spMk id="20" creationId="{BF34563F-5AD5-1187-C47E-6CA2B70B5C3E}"/>
          </ac:spMkLst>
        </pc:spChg>
        <pc:spChg chg="mod">
          <ac:chgData name="Polanco Zanetta, Sebastian" userId="679afde1-f2ca-45a1-83ca-bc48414eb788" providerId="ADAL" clId="{7F2DE69D-8C9F-4CB1-8222-8CA7389F170C}" dt="2025-05-07T04:27:57.801" v="17844" actId="20577"/>
          <ac:spMkLst>
            <pc:docMk/>
            <pc:sldMk cId="55702016" sldId="4495"/>
            <ac:spMk id="22" creationId="{AE9334BA-00B5-A732-A019-0C506D25302D}"/>
          </ac:spMkLst>
        </pc:spChg>
        <pc:spChg chg="mod">
          <ac:chgData name="Polanco Zanetta, Sebastian" userId="679afde1-f2ca-45a1-83ca-bc48414eb788" providerId="ADAL" clId="{7F2DE69D-8C9F-4CB1-8222-8CA7389F170C}" dt="2025-05-07T04:27:48.576" v="17842"/>
          <ac:spMkLst>
            <pc:docMk/>
            <pc:sldMk cId="55702016" sldId="4495"/>
            <ac:spMk id="29" creationId="{3FA406D3-E623-7A56-F8CE-AF7B79BAE6AF}"/>
          </ac:spMkLst>
        </pc:spChg>
        <pc:spChg chg="mod">
          <ac:chgData name="Polanco Zanetta, Sebastian" userId="679afde1-f2ca-45a1-83ca-bc48414eb788" providerId="ADAL" clId="{7F2DE69D-8C9F-4CB1-8222-8CA7389F170C}" dt="2025-05-02T20:32:07.469" v="3188"/>
          <ac:spMkLst>
            <pc:docMk/>
            <pc:sldMk cId="55702016" sldId="4495"/>
            <ac:spMk id="30" creationId="{C2B5F1BB-EED3-4AA1-15F2-03D78E70B5CC}"/>
          </ac:spMkLst>
        </pc:spChg>
      </pc:sldChg>
      <pc:sldMasterChg chg="addSp modSp mod modSldLayout">
        <pc:chgData name="Polanco Zanetta, Sebastian" userId="679afde1-f2ca-45a1-83ca-bc48414eb788" providerId="ADAL" clId="{7F2DE69D-8C9F-4CB1-8222-8CA7389F170C}" dt="2025-05-07T16:56:03.086" v="17905" actId="478"/>
        <pc:sldMasterMkLst>
          <pc:docMk/>
          <pc:sldMasterMk cId="1357787719" sldId="2147483648"/>
        </pc:sldMasterMkLst>
        <pc:spChg chg="add mod">
          <ac:chgData name="Polanco Zanetta, Sebastian" userId="679afde1-f2ca-45a1-83ca-bc48414eb788" providerId="ADAL" clId="{7F2DE69D-8C9F-4CB1-8222-8CA7389F170C}" dt="2025-05-07T16:55:47.208" v="17899" actId="20577"/>
          <ac:spMkLst>
            <pc:docMk/>
            <pc:sldMasterMk cId="1357787719" sldId="2147483648"/>
            <ac:spMk id="7" creationId="{8551F8BC-1A92-8FE9-4A37-2DF092525DA5}"/>
          </ac:spMkLst>
        </pc:spChg>
        <pc:sldLayoutChg chg="addSp delSp modSp mod">
          <pc:chgData name="Polanco Zanetta, Sebastian" userId="679afde1-f2ca-45a1-83ca-bc48414eb788" providerId="ADAL" clId="{7F2DE69D-8C9F-4CB1-8222-8CA7389F170C}" dt="2025-05-07T16:55:54.459" v="17900"/>
          <pc:sldLayoutMkLst>
            <pc:docMk/>
            <pc:sldMasterMk cId="1357787719" sldId="2147483648"/>
            <pc:sldLayoutMk cId="4245627003" sldId="2147483649"/>
          </pc:sldLayoutMkLst>
          <pc:spChg chg="add mod">
            <ac:chgData name="Polanco Zanetta, Sebastian" userId="679afde1-f2ca-45a1-83ca-bc48414eb788" providerId="ADAL" clId="{7F2DE69D-8C9F-4CB1-8222-8CA7389F170C}" dt="2025-05-07T16:55:54.459" v="17900"/>
            <ac:spMkLst>
              <pc:docMk/>
              <pc:sldMasterMk cId="1357787719" sldId="2147483648"/>
              <pc:sldLayoutMk cId="4245627003" sldId="2147483649"/>
              <ac:spMk id="3" creationId="{19D92AB0-D65A-2B0C-DCBB-5B0EA5D0B573}"/>
            </ac:spMkLst>
          </pc:spChg>
        </pc:sldLayoutChg>
        <pc:sldLayoutChg chg="addSp delSp modSp mod">
          <pc:chgData name="Polanco Zanetta, Sebastian" userId="679afde1-f2ca-45a1-83ca-bc48414eb788" providerId="ADAL" clId="{7F2DE69D-8C9F-4CB1-8222-8CA7389F170C}" dt="2025-05-07T16:55:55.596" v="17901"/>
          <pc:sldLayoutMkLst>
            <pc:docMk/>
            <pc:sldMasterMk cId="1357787719" sldId="2147483648"/>
            <pc:sldLayoutMk cId="3028947450" sldId="2147483653"/>
          </pc:sldLayoutMkLst>
          <pc:spChg chg="add mod">
            <ac:chgData name="Polanco Zanetta, Sebastian" userId="679afde1-f2ca-45a1-83ca-bc48414eb788" providerId="ADAL" clId="{7F2DE69D-8C9F-4CB1-8222-8CA7389F170C}" dt="2025-05-07T16:55:55.596" v="17901"/>
            <ac:spMkLst>
              <pc:docMk/>
              <pc:sldMasterMk cId="1357787719" sldId="2147483648"/>
              <pc:sldLayoutMk cId="3028947450" sldId="2147483653"/>
              <ac:spMk id="5" creationId="{05D07FED-E51F-BCA9-C863-63704C3A41FF}"/>
            </ac:spMkLst>
          </pc:spChg>
        </pc:sldLayoutChg>
        <pc:sldLayoutChg chg="addSp delSp modSp mod">
          <pc:chgData name="Polanco Zanetta, Sebastian" userId="679afde1-f2ca-45a1-83ca-bc48414eb788" providerId="ADAL" clId="{7F2DE69D-8C9F-4CB1-8222-8CA7389F170C}" dt="2025-05-07T16:56:03.086" v="17905" actId="478"/>
          <pc:sldLayoutMkLst>
            <pc:docMk/>
            <pc:sldMasterMk cId="1357787719" sldId="2147483648"/>
            <pc:sldLayoutMk cId="1256730618" sldId="2147483654"/>
          </pc:sldLayoutMkLst>
          <pc:spChg chg="add del">
            <ac:chgData name="Polanco Zanetta, Sebastian" userId="679afde1-f2ca-45a1-83ca-bc48414eb788" providerId="ADAL" clId="{7F2DE69D-8C9F-4CB1-8222-8CA7389F170C}" dt="2025-05-03T00:00:02.799" v="16283" actId="478"/>
            <ac:spMkLst>
              <pc:docMk/>
              <pc:sldMasterMk cId="1357787719" sldId="2147483648"/>
              <pc:sldLayoutMk cId="1256730618" sldId="2147483654"/>
              <ac:spMk id="2" creationId="{6C807AF8-0EEB-C44F-FE1C-F3987F32A8DD}"/>
            </ac:spMkLst>
          </pc:spChg>
        </pc:sldLayoutChg>
        <pc:sldLayoutChg chg="addSp delSp modSp mod">
          <pc:chgData name="Polanco Zanetta, Sebastian" userId="679afde1-f2ca-45a1-83ca-bc48414eb788" providerId="ADAL" clId="{7F2DE69D-8C9F-4CB1-8222-8CA7389F170C}" dt="2025-05-07T16:56:00.390" v="17904" actId="478"/>
          <pc:sldLayoutMkLst>
            <pc:docMk/>
            <pc:sldMasterMk cId="1357787719" sldId="2147483648"/>
            <pc:sldLayoutMk cId="1886360453" sldId="2147483655"/>
          </pc:sldLayoutMkLst>
        </pc:sldLayoutChg>
      </pc:sldMasterChg>
    </pc:docChg>
  </pc:docChgLst>
  <pc:docChgLst>
    <pc:chgData name="Guarda Madriaza, Andres" userId="524f1fec-b848-4aa4-ad30-b433d0ef7cfd" providerId="ADAL" clId="{5C30DD25-D2FB-4108-A8D6-7C9E8221D2F6}"/>
    <pc:docChg chg="undo redo custSel addSld delSld modSld">
      <pc:chgData name="Guarda Madriaza, Andres" userId="524f1fec-b848-4aa4-ad30-b433d0ef7cfd" providerId="ADAL" clId="{5C30DD25-D2FB-4108-A8D6-7C9E8221D2F6}" dt="2025-05-07T20:01:11.394" v="3052" actId="20577"/>
      <pc:docMkLst>
        <pc:docMk/>
      </pc:docMkLst>
      <pc:sldChg chg="modSp mod">
        <pc:chgData name="Guarda Madriaza, Andres" userId="524f1fec-b848-4aa4-ad30-b433d0ef7cfd" providerId="ADAL" clId="{5C30DD25-D2FB-4108-A8D6-7C9E8221D2F6}" dt="2025-05-07T20:01:11.394" v="3052" actId="20577"/>
        <pc:sldMkLst>
          <pc:docMk/>
          <pc:sldMk cId="2402795078" sldId="4456"/>
        </pc:sldMkLst>
        <pc:spChg chg="mod">
          <ac:chgData name="Guarda Madriaza, Andres" userId="524f1fec-b848-4aa4-ad30-b433d0ef7cfd" providerId="ADAL" clId="{5C30DD25-D2FB-4108-A8D6-7C9E8221D2F6}" dt="2025-05-07T16:28:30.997" v="20" actId="1036"/>
          <ac:spMkLst>
            <pc:docMk/>
            <pc:sldMk cId="2402795078" sldId="4456"/>
            <ac:spMk id="41" creationId="{23AA03E7-73A1-8E58-D563-FB6EB5C2D097}"/>
          </ac:spMkLst>
        </pc:spChg>
        <pc:spChg chg="mod">
          <ac:chgData name="Guarda Madriaza, Andres" userId="524f1fec-b848-4aa4-ad30-b433d0ef7cfd" providerId="ADAL" clId="{5C30DD25-D2FB-4108-A8D6-7C9E8221D2F6}" dt="2025-05-07T20:01:11.394" v="3052" actId="20577"/>
          <ac:spMkLst>
            <pc:docMk/>
            <pc:sldMk cId="2402795078" sldId="4456"/>
            <ac:spMk id="44" creationId="{71D217CB-DB8D-9399-7DF9-8B36928AEFB0}"/>
          </ac:spMkLst>
        </pc:spChg>
        <pc:spChg chg="mod">
          <ac:chgData name="Guarda Madriaza, Andres" userId="524f1fec-b848-4aa4-ad30-b433d0ef7cfd" providerId="ADAL" clId="{5C30DD25-D2FB-4108-A8D6-7C9E8221D2F6}" dt="2025-05-07T16:34:25.634" v="643" actId="1036"/>
          <ac:spMkLst>
            <pc:docMk/>
            <pc:sldMk cId="2402795078" sldId="4456"/>
            <ac:spMk id="47" creationId="{91B3670C-8613-1F50-1A26-C6174C7ABA37}"/>
          </ac:spMkLst>
        </pc:spChg>
      </pc:sldChg>
      <pc:sldChg chg="addSp delSp modSp mod">
        <pc:chgData name="Guarda Madriaza, Andres" userId="524f1fec-b848-4aa4-ad30-b433d0ef7cfd" providerId="ADAL" clId="{5C30DD25-D2FB-4108-A8D6-7C9E8221D2F6}" dt="2025-05-07T17:01:34.971" v="1406" actId="20577"/>
        <pc:sldMkLst>
          <pc:docMk/>
          <pc:sldMk cId="1629867990" sldId="4461"/>
        </pc:sldMkLst>
        <pc:spChg chg="mod ord">
          <ac:chgData name="Guarda Madriaza, Andres" userId="524f1fec-b848-4aa4-ad30-b433d0ef7cfd" providerId="ADAL" clId="{5C30DD25-D2FB-4108-A8D6-7C9E8221D2F6}" dt="2025-05-07T17:00:57.551" v="1395"/>
          <ac:spMkLst>
            <pc:docMk/>
            <pc:sldMk cId="1629867990" sldId="4461"/>
            <ac:spMk id="2" creationId="{621E7C46-D50F-C125-0E56-B3E90061738D}"/>
          </ac:spMkLst>
        </pc:spChg>
        <pc:spChg chg="mod ord">
          <ac:chgData name="Guarda Madriaza, Andres" userId="524f1fec-b848-4aa4-ad30-b433d0ef7cfd" providerId="ADAL" clId="{5C30DD25-D2FB-4108-A8D6-7C9E8221D2F6}" dt="2025-05-07T17:00:57.551" v="1397"/>
          <ac:spMkLst>
            <pc:docMk/>
            <pc:sldMk cId="1629867990" sldId="4461"/>
            <ac:spMk id="3" creationId="{6FE565FD-0B70-41F8-8DAF-BC3E35467563}"/>
          </ac:spMkLst>
        </pc:spChg>
        <pc:spChg chg="mod ord">
          <ac:chgData name="Guarda Madriaza, Andres" userId="524f1fec-b848-4aa4-ad30-b433d0ef7cfd" providerId="ADAL" clId="{5C30DD25-D2FB-4108-A8D6-7C9E8221D2F6}" dt="2025-05-07T17:00:57.551" v="1393"/>
          <ac:spMkLst>
            <pc:docMk/>
            <pc:sldMk cId="1629867990" sldId="4461"/>
            <ac:spMk id="5" creationId="{A3FE7B05-BF85-D086-F95C-EF0D547E382E}"/>
          </ac:spMkLst>
        </pc:spChg>
        <pc:spChg chg="add mod">
          <ac:chgData name="Guarda Madriaza, Andres" userId="524f1fec-b848-4aa4-ad30-b433d0ef7cfd" providerId="ADAL" clId="{5C30DD25-D2FB-4108-A8D6-7C9E8221D2F6}" dt="2025-05-07T17:00:57.541" v="1344"/>
          <ac:spMkLst>
            <pc:docMk/>
            <pc:sldMk cId="1629867990" sldId="4461"/>
            <ac:spMk id="6" creationId="{7E48156E-6A95-A64B-8520-CD11DA6C5EEF}"/>
          </ac:spMkLst>
        </pc:spChg>
        <pc:spChg chg="add mod">
          <ac:chgData name="Guarda Madriaza, Andres" userId="524f1fec-b848-4aa4-ad30-b433d0ef7cfd" providerId="ADAL" clId="{5C30DD25-D2FB-4108-A8D6-7C9E8221D2F6}" dt="2025-05-07T17:00:57.541" v="1345"/>
          <ac:spMkLst>
            <pc:docMk/>
            <pc:sldMk cId="1629867990" sldId="4461"/>
            <ac:spMk id="8" creationId="{7E48156E-6A95-A64B-8520-CD11DA6C5EEF}"/>
          </ac:spMkLst>
        </pc:spChg>
        <pc:spChg chg="add mod">
          <ac:chgData name="Guarda Madriaza, Andres" userId="524f1fec-b848-4aa4-ad30-b433d0ef7cfd" providerId="ADAL" clId="{5C30DD25-D2FB-4108-A8D6-7C9E8221D2F6}" dt="2025-05-07T17:00:57.541" v="1346"/>
          <ac:spMkLst>
            <pc:docMk/>
            <pc:sldMk cId="1629867990" sldId="4461"/>
            <ac:spMk id="9" creationId="{7E48156E-6A95-A64B-8520-CD11DA6C5EEF}"/>
          </ac:spMkLst>
        </pc:spChg>
        <pc:spChg chg="add mod">
          <ac:chgData name="Guarda Madriaza, Andres" userId="524f1fec-b848-4aa4-ad30-b433d0ef7cfd" providerId="ADAL" clId="{5C30DD25-D2FB-4108-A8D6-7C9E8221D2F6}" dt="2025-05-07T17:00:57.541" v="1347"/>
          <ac:spMkLst>
            <pc:docMk/>
            <pc:sldMk cId="1629867990" sldId="4461"/>
            <ac:spMk id="10" creationId="{7E48156E-6A95-A64B-8520-CD11DA6C5EEF}"/>
          </ac:spMkLst>
        </pc:spChg>
        <pc:spChg chg="add mod">
          <ac:chgData name="Guarda Madriaza, Andres" userId="524f1fec-b848-4aa4-ad30-b433d0ef7cfd" providerId="ADAL" clId="{5C30DD25-D2FB-4108-A8D6-7C9E8221D2F6}" dt="2025-05-07T17:00:57.551" v="1374"/>
          <ac:spMkLst>
            <pc:docMk/>
            <pc:sldMk cId="1629867990" sldId="4461"/>
            <ac:spMk id="12" creationId="{7E48156E-6A95-A64B-8520-CD11DA6C5EEF}"/>
          </ac:spMkLst>
        </pc:spChg>
        <pc:spChg chg="mod">
          <ac:chgData name="Guarda Madriaza, Andres" userId="524f1fec-b848-4aa4-ad30-b433d0ef7cfd" providerId="ADAL" clId="{5C30DD25-D2FB-4108-A8D6-7C9E8221D2F6}" dt="2025-05-07T17:00:57.531" v="1340"/>
          <ac:spMkLst>
            <pc:docMk/>
            <pc:sldMk cId="1629867990" sldId="4461"/>
            <ac:spMk id="20" creationId="{7D5EF66B-93DF-E502-8418-CB1EC80C69D2}"/>
          </ac:spMkLst>
        </pc:spChg>
        <pc:spChg chg="mod">
          <ac:chgData name="Guarda Madriaza, Andres" userId="524f1fec-b848-4aa4-ad30-b433d0ef7cfd" providerId="ADAL" clId="{5C30DD25-D2FB-4108-A8D6-7C9E8221D2F6}" dt="2025-05-07T17:00:57.531" v="1341"/>
          <ac:spMkLst>
            <pc:docMk/>
            <pc:sldMk cId="1629867990" sldId="4461"/>
            <ac:spMk id="21" creationId="{0EEE33E7-3F2A-5D66-4499-87E7735DAFBC}"/>
          </ac:spMkLst>
        </pc:spChg>
        <pc:spChg chg="mod">
          <ac:chgData name="Guarda Madriaza, Andres" userId="524f1fec-b848-4aa4-ad30-b433d0ef7cfd" providerId="ADAL" clId="{5C30DD25-D2FB-4108-A8D6-7C9E8221D2F6}" dt="2025-05-07T17:00:57.531" v="1342"/>
          <ac:spMkLst>
            <pc:docMk/>
            <pc:sldMk cId="1629867990" sldId="4461"/>
            <ac:spMk id="22" creationId="{8B5D967E-A7D3-B9B3-2730-C280C806FFB3}"/>
          </ac:spMkLst>
        </pc:spChg>
        <pc:spChg chg="mod">
          <ac:chgData name="Guarda Madriaza, Andres" userId="524f1fec-b848-4aa4-ad30-b433d0ef7cfd" providerId="ADAL" clId="{5C30DD25-D2FB-4108-A8D6-7C9E8221D2F6}" dt="2025-05-07T17:00:57.541" v="1343"/>
          <ac:spMkLst>
            <pc:docMk/>
            <pc:sldMk cId="1629867990" sldId="4461"/>
            <ac:spMk id="23" creationId="{81BAE109-84B6-40AA-FE99-7E18A123D945}"/>
          </ac:spMkLst>
        </pc:spChg>
        <pc:spChg chg="mod ord">
          <ac:chgData name="Guarda Madriaza, Andres" userId="524f1fec-b848-4aa4-ad30-b433d0ef7cfd" providerId="ADAL" clId="{5C30DD25-D2FB-4108-A8D6-7C9E8221D2F6}" dt="2025-05-07T17:00:57.541" v="1349"/>
          <ac:spMkLst>
            <pc:docMk/>
            <pc:sldMk cId="1629867990" sldId="4461"/>
            <ac:spMk id="24" creationId="{A3471FF0-149B-3A93-8F76-94A6E4A6EDB8}"/>
          </ac:spMkLst>
        </pc:spChg>
        <pc:spChg chg="mod ord">
          <ac:chgData name="Guarda Madriaza, Andres" userId="524f1fec-b848-4aa4-ad30-b433d0ef7cfd" providerId="ADAL" clId="{5C30DD25-D2FB-4108-A8D6-7C9E8221D2F6}" dt="2025-05-07T17:00:57.541" v="1351"/>
          <ac:spMkLst>
            <pc:docMk/>
            <pc:sldMk cId="1629867990" sldId="4461"/>
            <ac:spMk id="25" creationId="{088EACFB-722C-D3C6-5EA2-874A7C88F63C}"/>
          </ac:spMkLst>
        </pc:spChg>
        <pc:spChg chg="mod ord">
          <ac:chgData name="Guarda Madriaza, Andres" userId="524f1fec-b848-4aa4-ad30-b433d0ef7cfd" providerId="ADAL" clId="{5C30DD25-D2FB-4108-A8D6-7C9E8221D2F6}" dt="2025-05-07T17:00:57.541" v="1353"/>
          <ac:spMkLst>
            <pc:docMk/>
            <pc:sldMk cId="1629867990" sldId="4461"/>
            <ac:spMk id="26" creationId="{03EEED99-06C4-A229-CED8-BF115C60ACFF}"/>
          </ac:spMkLst>
        </pc:spChg>
        <pc:spChg chg="mod ord">
          <ac:chgData name="Guarda Madriaza, Andres" userId="524f1fec-b848-4aa4-ad30-b433d0ef7cfd" providerId="ADAL" clId="{5C30DD25-D2FB-4108-A8D6-7C9E8221D2F6}" dt="2025-05-07T17:00:57.541" v="1355"/>
          <ac:spMkLst>
            <pc:docMk/>
            <pc:sldMk cId="1629867990" sldId="4461"/>
            <ac:spMk id="27" creationId="{8BE189BD-1FB7-3A83-3E35-51A5B578FCEF}"/>
          </ac:spMkLst>
        </pc:spChg>
        <pc:spChg chg="add mod">
          <ac:chgData name="Guarda Madriaza, Andres" userId="524f1fec-b848-4aa4-ad30-b433d0ef7cfd" providerId="ADAL" clId="{5C30DD25-D2FB-4108-A8D6-7C9E8221D2F6}" dt="2025-05-07T17:00:57.551" v="1375"/>
          <ac:spMkLst>
            <pc:docMk/>
            <pc:sldMk cId="1629867990" sldId="4461"/>
            <ac:spMk id="28" creationId="{7E48156E-6A95-A64B-8520-CD11DA6C5EEF}"/>
          </ac:spMkLst>
        </pc:spChg>
        <pc:spChg chg="add mod">
          <ac:chgData name="Guarda Madriaza, Andres" userId="524f1fec-b848-4aa4-ad30-b433d0ef7cfd" providerId="ADAL" clId="{5C30DD25-D2FB-4108-A8D6-7C9E8221D2F6}" dt="2025-05-07T17:00:57.551" v="1376"/>
          <ac:spMkLst>
            <pc:docMk/>
            <pc:sldMk cId="1629867990" sldId="4461"/>
            <ac:spMk id="29" creationId="{7E48156E-6A95-A64B-8520-CD11DA6C5EEF}"/>
          </ac:spMkLst>
        </pc:spChg>
        <pc:spChg chg="add mod">
          <ac:chgData name="Guarda Madriaza, Andres" userId="524f1fec-b848-4aa4-ad30-b433d0ef7cfd" providerId="ADAL" clId="{5C30DD25-D2FB-4108-A8D6-7C9E8221D2F6}" dt="2025-05-07T17:00:57.551" v="1377"/>
          <ac:spMkLst>
            <pc:docMk/>
            <pc:sldMk cId="1629867990" sldId="4461"/>
            <ac:spMk id="30" creationId="{7E48156E-6A95-A64B-8520-CD11DA6C5EEF}"/>
          </ac:spMkLst>
        </pc:spChg>
        <pc:spChg chg="mod">
          <ac:chgData name="Guarda Madriaza, Andres" userId="524f1fec-b848-4aa4-ad30-b433d0ef7cfd" providerId="ADAL" clId="{5C30DD25-D2FB-4108-A8D6-7C9E8221D2F6}" dt="2025-05-07T17:00:57.546" v="1370"/>
          <ac:spMkLst>
            <pc:docMk/>
            <pc:sldMk cId="1629867990" sldId="4461"/>
            <ac:spMk id="49" creationId="{9350945F-A97A-6BA3-B652-A4F84192C2BC}"/>
          </ac:spMkLst>
        </pc:spChg>
        <pc:spChg chg="mod">
          <ac:chgData name="Guarda Madriaza, Andres" userId="524f1fec-b848-4aa4-ad30-b433d0ef7cfd" providerId="ADAL" clId="{5C30DD25-D2FB-4108-A8D6-7C9E8221D2F6}" dt="2025-05-07T17:00:57.546" v="1371"/>
          <ac:spMkLst>
            <pc:docMk/>
            <pc:sldMk cId="1629867990" sldId="4461"/>
            <ac:spMk id="50" creationId="{9BE30D35-C925-1024-D51B-C07404BD9124}"/>
          </ac:spMkLst>
        </pc:spChg>
        <pc:spChg chg="mod">
          <ac:chgData name="Guarda Madriaza, Andres" userId="524f1fec-b848-4aa4-ad30-b433d0ef7cfd" providerId="ADAL" clId="{5C30DD25-D2FB-4108-A8D6-7C9E8221D2F6}" dt="2025-05-07T17:00:57.546" v="1372"/>
          <ac:spMkLst>
            <pc:docMk/>
            <pc:sldMk cId="1629867990" sldId="4461"/>
            <ac:spMk id="51" creationId="{BD564D6E-D481-C129-7079-1706DB5B7B5E}"/>
          </ac:spMkLst>
        </pc:spChg>
        <pc:spChg chg="mod">
          <ac:chgData name="Guarda Madriaza, Andres" userId="524f1fec-b848-4aa4-ad30-b433d0ef7cfd" providerId="ADAL" clId="{5C30DD25-D2FB-4108-A8D6-7C9E8221D2F6}" dt="2025-05-07T17:00:57.551" v="1373"/>
          <ac:spMkLst>
            <pc:docMk/>
            <pc:sldMk cId="1629867990" sldId="4461"/>
            <ac:spMk id="52" creationId="{D39191ED-14F4-CCC0-8F53-90DF17EB1D44}"/>
          </ac:spMkLst>
        </pc:spChg>
        <pc:spChg chg="mod ord">
          <ac:chgData name="Guarda Madriaza, Andres" userId="524f1fec-b848-4aa4-ad30-b433d0ef7cfd" providerId="ADAL" clId="{5C30DD25-D2FB-4108-A8D6-7C9E8221D2F6}" dt="2025-05-07T17:00:57.551" v="1379"/>
          <ac:spMkLst>
            <pc:docMk/>
            <pc:sldMk cId="1629867990" sldId="4461"/>
            <ac:spMk id="53" creationId="{4D83F861-BFBA-99E7-4B61-0410BAA8B63E}"/>
          </ac:spMkLst>
        </pc:spChg>
        <pc:spChg chg="mod ord">
          <ac:chgData name="Guarda Madriaza, Andres" userId="524f1fec-b848-4aa4-ad30-b433d0ef7cfd" providerId="ADAL" clId="{5C30DD25-D2FB-4108-A8D6-7C9E8221D2F6}" dt="2025-05-07T17:00:57.551" v="1381"/>
          <ac:spMkLst>
            <pc:docMk/>
            <pc:sldMk cId="1629867990" sldId="4461"/>
            <ac:spMk id="54" creationId="{5EFDAB92-A89A-BB56-F7D9-8DC8CBFDC9F0}"/>
          </ac:spMkLst>
        </pc:spChg>
        <pc:spChg chg="mod ord">
          <ac:chgData name="Guarda Madriaza, Andres" userId="524f1fec-b848-4aa4-ad30-b433d0ef7cfd" providerId="ADAL" clId="{5C30DD25-D2FB-4108-A8D6-7C9E8221D2F6}" dt="2025-05-07T17:00:57.551" v="1383"/>
          <ac:spMkLst>
            <pc:docMk/>
            <pc:sldMk cId="1629867990" sldId="4461"/>
            <ac:spMk id="57" creationId="{4F51B16D-C4FE-40DF-E65C-6B55C5D818E2}"/>
          </ac:spMkLst>
        </pc:spChg>
        <pc:spChg chg="mod ord">
          <ac:chgData name="Guarda Madriaza, Andres" userId="524f1fec-b848-4aa4-ad30-b433d0ef7cfd" providerId="ADAL" clId="{5C30DD25-D2FB-4108-A8D6-7C9E8221D2F6}" dt="2025-05-07T17:00:57.551" v="1385"/>
          <ac:spMkLst>
            <pc:docMk/>
            <pc:sldMk cId="1629867990" sldId="4461"/>
            <ac:spMk id="58" creationId="{B40EEE1B-A36F-732C-212A-B6691EEC8785}"/>
          </ac:spMkLst>
        </pc:spChg>
        <pc:spChg chg="mod">
          <ac:chgData name="Guarda Madriaza, Andres" userId="524f1fec-b848-4aa4-ad30-b433d0ef7cfd" providerId="ADAL" clId="{5C30DD25-D2FB-4108-A8D6-7C9E8221D2F6}" dt="2025-05-07T17:01:31.521" v="1404" actId="20577"/>
          <ac:spMkLst>
            <pc:docMk/>
            <pc:sldMk cId="1629867990" sldId="4461"/>
            <ac:spMk id="82" creationId="{F04E3F0C-5E10-DEDA-39F0-4A76AD9F4FF2}"/>
          </ac:spMkLst>
        </pc:spChg>
        <pc:spChg chg="mod">
          <ac:chgData name="Guarda Madriaza, Andres" userId="524f1fec-b848-4aa4-ad30-b433d0ef7cfd" providerId="ADAL" clId="{5C30DD25-D2FB-4108-A8D6-7C9E8221D2F6}" dt="2025-05-07T17:01:34.971" v="1406" actId="20577"/>
          <ac:spMkLst>
            <pc:docMk/>
            <pc:sldMk cId="1629867990" sldId="4461"/>
            <ac:spMk id="85" creationId="{C2043354-14EB-A4B1-0A7D-BDBB223A7740}"/>
          </ac:spMkLst>
        </pc:spChg>
        <pc:grpChg chg="mod ord">
          <ac:chgData name="Guarda Madriaza, Andres" userId="524f1fec-b848-4aa4-ad30-b433d0ef7cfd" providerId="ADAL" clId="{5C30DD25-D2FB-4108-A8D6-7C9E8221D2F6}" dt="2025-05-07T17:00:57.551" v="1387"/>
          <ac:grpSpMkLst>
            <pc:docMk/>
            <pc:sldMk cId="1629867990" sldId="4461"/>
            <ac:grpSpMk id="80" creationId="{6ABE53E3-7D24-CA1B-EF93-181318E35F3F}"/>
          </ac:grpSpMkLst>
        </pc:grpChg>
        <pc:grpChg chg="mod ord">
          <ac:chgData name="Guarda Madriaza, Andres" userId="524f1fec-b848-4aa4-ad30-b433d0ef7cfd" providerId="ADAL" clId="{5C30DD25-D2FB-4108-A8D6-7C9E8221D2F6}" dt="2025-05-07T17:00:57.551" v="1389"/>
          <ac:grpSpMkLst>
            <pc:docMk/>
            <pc:sldMk cId="1629867990" sldId="4461"/>
            <ac:grpSpMk id="83" creationId="{D930F4E2-7A42-3653-EF7C-7283828EF049}"/>
          </ac:grpSpMkLst>
        </pc:grpChg>
        <pc:graphicFrameChg chg="mod">
          <ac:chgData name="Guarda Madriaza, Andres" userId="524f1fec-b848-4aa4-ad30-b433d0ef7cfd" providerId="ADAL" clId="{5C30DD25-D2FB-4108-A8D6-7C9E8221D2F6}" dt="2025-05-07T17:00:57.561" v="1401"/>
          <ac:graphicFrameMkLst>
            <pc:docMk/>
            <pc:sldMk cId="1629867990" sldId="4461"/>
            <ac:graphicFrameMk id="7" creationId="{D6671726-3BCD-F3FA-F071-A4A61FC92580}"/>
          </ac:graphicFrameMkLst>
        </pc:graphicFrameChg>
        <pc:graphicFrameChg chg="add mod ord">
          <ac:chgData name="Guarda Madriaza, Andres" userId="524f1fec-b848-4aa4-ad30-b433d0ef7cfd" providerId="ADAL" clId="{5C30DD25-D2FB-4108-A8D6-7C9E8221D2F6}" dt="2025-05-07T17:00:57.531" v="1327"/>
          <ac:graphicFrameMkLst>
            <pc:docMk/>
            <pc:sldMk cId="1629867990" sldId="4461"/>
            <ac:graphicFrameMk id="11" creationId="{AF65BD75-E7C2-93D7-3DA1-3A5FA7CF55A4}"/>
          </ac:graphicFrameMkLst>
        </pc:graphicFrameChg>
        <pc:graphicFrameChg chg="add mod ord">
          <ac:chgData name="Guarda Madriaza, Andres" userId="524f1fec-b848-4aa4-ad30-b433d0ef7cfd" providerId="ADAL" clId="{5C30DD25-D2FB-4108-A8D6-7C9E8221D2F6}" dt="2025-05-07T17:00:57.541" v="1357"/>
          <ac:graphicFrameMkLst>
            <pc:docMk/>
            <pc:sldMk cId="1629867990" sldId="4461"/>
            <ac:graphicFrameMk id="31" creationId="{21C7583F-5503-372C-7718-E69539F67D49}"/>
          </ac:graphicFrameMkLst>
        </pc:graphicFrameChg>
        <pc:picChg chg="mod ord">
          <ac:chgData name="Guarda Madriaza, Andres" userId="524f1fec-b848-4aa4-ad30-b433d0ef7cfd" providerId="ADAL" clId="{5C30DD25-D2FB-4108-A8D6-7C9E8221D2F6}" dt="2025-05-07T17:00:57.531" v="1325"/>
          <ac:picMkLst>
            <pc:docMk/>
            <pc:sldMk cId="1629867990" sldId="4461"/>
            <ac:picMk id="13" creationId="{1D97AB21-316F-A56C-8464-51BD9DF1C681}"/>
          </ac:picMkLst>
        </pc:picChg>
        <pc:cxnChg chg="mod ord">
          <ac:chgData name="Guarda Madriaza, Andres" userId="524f1fec-b848-4aa4-ad30-b433d0ef7cfd" providerId="ADAL" clId="{5C30DD25-D2FB-4108-A8D6-7C9E8221D2F6}" dt="2025-05-07T17:00:57.531" v="1329"/>
          <ac:cxnSpMkLst>
            <pc:docMk/>
            <pc:sldMk cId="1629867990" sldId="4461"/>
            <ac:cxnSpMk id="14" creationId="{5CEC6A7E-BFFA-AA11-6617-E31859887DF2}"/>
          </ac:cxnSpMkLst>
        </pc:cxnChg>
        <pc:cxnChg chg="mod ord">
          <ac:chgData name="Guarda Madriaza, Andres" userId="524f1fec-b848-4aa4-ad30-b433d0ef7cfd" providerId="ADAL" clId="{5C30DD25-D2FB-4108-A8D6-7C9E8221D2F6}" dt="2025-05-07T17:00:57.531" v="1331"/>
          <ac:cxnSpMkLst>
            <pc:docMk/>
            <pc:sldMk cId="1629867990" sldId="4461"/>
            <ac:cxnSpMk id="15" creationId="{D679126A-9FEA-A1B5-6082-DB91F9B6E39E}"/>
          </ac:cxnSpMkLst>
        </pc:cxnChg>
        <pc:cxnChg chg="mod ord">
          <ac:chgData name="Guarda Madriaza, Andres" userId="524f1fec-b848-4aa4-ad30-b433d0ef7cfd" providerId="ADAL" clId="{5C30DD25-D2FB-4108-A8D6-7C9E8221D2F6}" dt="2025-05-07T17:00:57.531" v="1333"/>
          <ac:cxnSpMkLst>
            <pc:docMk/>
            <pc:sldMk cId="1629867990" sldId="4461"/>
            <ac:cxnSpMk id="16" creationId="{67102B31-5821-5C19-5B47-56C9749D70A7}"/>
          </ac:cxnSpMkLst>
        </pc:cxnChg>
        <pc:cxnChg chg="mod ord">
          <ac:chgData name="Guarda Madriaza, Andres" userId="524f1fec-b848-4aa4-ad30-b433d0ef7cfd" providerId="ADAL" clId="{5C30DD25-D2FB-4108-A8D6-7C9E8221D2F6}" dt="2025-05-07T17:00:57.531" v="1335"/>
          <ac:cxnSpMkLst>
            <pc:docMk/>
            <pc:sldMk cId="1629867990" sldId="4461"/>
            <ac:cxnSpMk id="17" creationId="{4FEB73BC-034E-B6C6-B609-1DB14FC3030B}"/>
          </ac:cxnSpMkLst>
        </pc:cxnChg>
        <pc:cxnChg chg="mod ord">
          <ac:chgData name="Guarda Madriaza, Andres" userId="524f1fec-b848-4aa4-ad30-b433d0ef7cfd" providerId="ADAL" clId="{5C30DD25-D2FB-4108-A8D6-7C9E8221D2F6}" dt="2025-05-07T17:00:57.531" v="1337"/>
          <ac:cxnSpMkLst>
            <pc:docMk/>
            <pc:sldMk cId="1629867990" sldId="4461"/>
            <ac:cxnSpMk id="18" creationId="{A860AC8E-3A5A-3790-2A50-A5958A2D4AC8}"/>
          </ac:cxnSpMkLst>
        </pc:cxnChg>
        <pc:cxnChg chg="mod ord">
          <ac:chgData name="Guarda Madriaza, Andres" userId="524f1fec-b848-4aa4-ad30-b433d0ef7cfd" providerId="ADAL" clId="{5C30DD25-D2FB-4108-A8D6-7C9E8221D2F6}" dt="2025-05-07T17:00:57.531" v="1339"/>
          <ac:cxnSpMkLst>
            <pc:docMk/>
            <pc:sldMk cId="1629867990" sldId="4461"/>
            <ac:cxnSpMk id="19" creationId="{37A1C14D-F734-9329-9753-8160E4DE3911}"/>
          </ac:cxnSpMkLst>
        </pc:cxnChg>
        <pc:cxnChg chg="mod ord">
          <ac:chgData name="Guarda Madriaza, Andres" userId="524f1fec-b848-4aa4-ad30-b433d0ef7cfd" providerId="ADAL" clId="{5C30DD25-D2FB-4108-A8D6-7C9E8221D2F6}" dt="2025-05-07T17:00:57.546" v="1359"/>
          <ac:cxnSpMkLst>
            <pc:docMk/>
            <pc:sldMk cId="1629867990" sldId="4461"/>
            <ac:cxnSpMk id="43" creationId="{A544184C-5650-0F49-79D2-C0074B07B5A8}"/>
          </ac:cxnSpMkLst>
        </pc:cxnChg>
        <pc:cxnChg chg="mod ord">
          <ac:chgData name="Guarda Madriaza, Andres" userId="524f1fec-b848-4aa4-ad30-b433d0ef7cfd" providerId="ADAL" clId="{5C30DD25-D2FB-4108-A8D6-7C9E8221D2F6}" dt="2025-05-07T17:00:57.546" v="1361"/>
          <ac:cxnSpMkLst>
            <pc:docMk/>
            <pc:sldMk cId="1629867990" sldId="4461"/>
            <ac:cxnSpMk id="44" creationId="{5D7B71DC-F139-ECE6-52AA-F1F75BB7F908}"/>
          </ac:cxnSpMkLst>
        </pc:cxnChg>
        <pc:cxnChg chg="mod ord">
          <ac:chgData name="Guarda Madriaza, Andres" userId="524f1fec-b848-4aa4-ad30-b433d0ef7cfd" providerId="ADAL" clId="{5C30DD25-D2FB-4108-A8D6-7C9E8221D2F6}" dt="2025-05-07T17:00:57.546" v="1363"/>
          <ac:cxnSpMkLst>
            <pc:docMk/>
            <pc:sldMk cId="1629867990" sldId="4461"/>
            <ac:cxnSpMk id="45" creationId="{B3DEA2D6-3B26-15F3-BB80-64414E70E0FE}"/>
          </ac:cxnSpMkLst>
        </pc:cxnChg>
        <pc:cxnChg chg="mod ord">
          <ac:chgData name="Guarda Madriaza, Andres" userId="524f1fec-b848-4aa4-ad30-b433d0ef7cfd" providerId="ADAL" clId="{5C30DD25-D2FB-4108-A8D6-7C9E8221D2F6}" dt="2025-05-07T17:00:57.546" v="1365"/>
          <ac:cxnSpMkLst>
            <pc:docMk/>
            <pc:sldMk cId="1629867990" sldId="4461"/>
            <ac:cxnSpMk id="46" creationId="{C26E0BED-8DB7-AEFA-D57B-232E989B983A}"/>
          </ac:cxnSpMkLst>
        </pc:cxnChg>
        <pc:cxnChg chg="mod ord">
          <ac:chgData name="Guarda Madriaza, Andres" userId="524f1fec-b848-4aa4-ad30-b433d0ef7cfd" providerId="ADAL" clId="{5C30DD25-D2FB-4108-A8D6-7C9E8221D2F6}" dt="2025-05-07T17:00:57.546" v="1367"/>
          <ac:cxnSpMkLst>
            <pc:docMk/>
            <pc:sldMk cId="1629867990" sldId="4461"/>
            <ac:cxnSpMk id="47" creationId="{FDE3A9DC-3DFE-5C71-B75C-72BDBB4248FE}"/>
          </ac:cxnSpMkLst>
        </pc:cxnChg>
        <pc:cxnChg chg="mod ord">
          <ac:chgData name="Guarda Madriaza, Andres" userId="524f1fec-b848-4aa4-ad30-b433d0ef7cfd" providerId="ADAL" clId="{5C30DD25-D2FB-4108-A8D6-7C9E8221D2F6}" dt="2025-05-07T17:00:57.546" v="1369"/>
          <ac:cxnSpMkLst>
            <pc:docMk/>
            <pc:sldMk cId="1629867990" sldId="4461"/>
            <ac:cxnSpMk id="48" creationId="{C0A3F0F2-6906-C61B-8785-971D803D377E}"/>
          </ac:cxnSpMkLst>
        </pc:cxnChg>
        <pc:cxnChg chg="mod ord">
          <ac:chgData name="Guarda Madriaza, Andres" userId="524f1fec-b848-4aa4-ad30-b433d0ef7cfd" providerId="ADAL" clId="{5C30DD25-D2FB-4108-A8D6-7C9E8221D2F6}" dt="2025-05-07T17:00:57.551" v="1391"/>
          <ac:cxnSpMkLst>
            <pc:docMk/>
            <pc:sldMk cId="1629867990" sldId="4461"/>
            <ac:cxnSpMk id="86" creationId="{B7A6D01B-5615-E2D5-FAFD-8EF35437EA5A}"/>
          </ac:cxnSpMkLst>
        </pc:cxnChg>
      </pc:sldChg>
      <pc:sldChg chg="modSp mod">
        <pc:chgData name="Guarda Madriaza, Andres" userId="524f1fec-b848-4aa4-ad30-b433d0ef7cfd" providerId="ADAL" clId="{5C30DD25-D2FB-4108-A8D6-7C9E8221D2F6}" dt="2025-05-07T17:15:47.060" v="2439" actId="20577"/>
        <pc:sldMkLst>
          <pc:docMk/>
          <pc:sldMk cId="2798752304" sldId="4463"/>
        </pc:sldMkLst>
        <pc:spChg chg="mod">
          <ac:chgData name="Guarda Madriaza, Andres" userId="524f1fec-b848-4aa4-ad30-b433d0ef7cfd" providerId="ADAL" clId="{5C30DD25-D2FB-4108-A8D6-7C9E8221D2F6}" dt="2025-05-07T17:15:47.060" v="2439" actId="20577"/>
          <ac:spMkLst>
            <pc:docMk/>
            <pc:sldMk cId="2798752304" sldId="4463"/>
            <ac:spMk id="6" creationId="{DC20AEAF-2EBF-150B-6775-B341008E86B5}"/>
          </ac:spMkLst>
        </pc:spChg>
        <pc:spChg chg="mod">
          <ac:chgData name="Guarda Madriaza, Andres" userId="524f1fec-b848-4aa4-ad30-b433d0ef7cfd" providerId="ADAL" clId="{5C30DD25-D2FB-4108-A8D6-7C9E8221D2F6}" dt="2025-05-07T17:15:26.813" v="2438"/>
          <ac:spMkLst>
            <pc:docMk/>
            <pc:sldMk cId="2798752304" sldId="4463"/>
            <ac:spMk id="22" creationId="{15B5A5A8-2943-ECDD-5CB5-34269E7D5632}"/>
          </ac:spMkLst>
        </pc:spChg>
      </pc:sldChg>
      <pc:sldChg chg="modSp mod">
        <pc:chgData name="Guarda Madriaza, Andres" userId="524f1fec-b848-4aa4-ad30-b433d0ef7cfd" providerId="ADAL" clId="{5C30DD25-D2FB-4108-A8D6-7C9E8221D2F6}" dt="2025-05-07T17:14:03.950" v="2437" actId="20577"/>
        <pc:sldMkLst>
          <pc:docMk/>
          <pc:sldMk cId="1760513304" sldId="4466"/>
        </pc:sldMkLst>
        <pc:spChg chg="mod">
          <ac:chgData name="Guarda Madriaza, Andres" userId="524f1fec-b848-4aa4-ad30-b433d0ef7cfd" providerId="ADAL" clId="{5C30DD25-D2FB-4108-A8D6-7C9E8221D2F6}" dt="2025-05-07T17:14:03.950" v="2437" actId="20577"/>
          <ac:spMkLst>
            <pc:docMk/>
            <pc:sldMk cId="1760513304" sldId="4466"/>
            <ac:spMk id="23" creationId="{E115D2AE-C188-8965-1106-4F0A58322D49}"/>
          </ac:spMkLst>
        </pc:spChg>
        <pc:spChg chg="mod">
          <ac:chgData name="Guarda Madriaza, Andres" userId="524f1fec-b848-4aa4-ad30-b433d0ef7cfd" providerId="ADAL" clId="{5C30DD25-D2FB-4108-A8D6-7C9E8221D2F6}" dt="2025-05-07T17:11:40.899" v="2434" actId="1037"/>
          <ac:spMkLst>
            <pc:docMk/>
            <pc:sldMk cId="1760513304" sldId="4466"/>
            <ac:spMk id="31" creationId="{7F63668B-7CC3-9744-BE36-109DF91AD4EA}"/>
          </ac:spMkLst>
        </pc:spChg>
        <pc:picChg chg="mod">
          <ac:chgData name="Guarda Madriaza, Andres" userId="524f1fec-b848-4aa4-ad30-b433d0ef7cfd" providerId="ADAL" clId="{5C30DD25-D2FB-4108-A8D6-7C9E8221D2F6}" dt="2025-05-07T17:11:40.899" v="2434" actId="1037"/>
          <ac:picMkLst>
            <pc:docMk/>
            <pc:sldMk cId="1760513304" sldId="4466"/>
            <ac:picMk id="26" creationId="{F69F793D-52A0-FAF8-5ACA-8FEBDDB43BE5}"/>
          </ac:picMkLst>
        </pc:picChg>
      </pc:sldChg>
      <pc:sldChg chg="modSp">
        <pc:chgData name="Guarda Madriaza, Andres" userId="524f1fec-b848-4aa4-ad30-b433d0ef7cfd" providerId="ADAL" clId="{5C30DD25-D2FB-4108-A8D6-7C9E8221D2F6}" dt="2025-05-07T17:05:12.850" v="1433" actId="403"/>
        <pc:sldMkLst>
          <pc:docMk/>
          <pc:sldMk cId="3110330266" sldId="4467"/>
        </pc:sldMkLst>
        <pc:graphicFrameChg chg="mod">
          <ac:chgData name="Guarda Madriaza, Andres" userId="524f1fec-b848-4aa4-ad30-b433d0ef7cfd" providerId="ADAL" clId="{5C30DD25-D2FB-4108-A8D6-7C9E8221D2F6}" dt="2025-05-07T17:05:12.850" v="1433" actId="403"/>
          <ac:graphicFrameMkLst>
            <pc:docMk/>
            <pc:sldMk cId="3110330266" sldId="4467"/>
            <ac:graphicFrameMk id="97" creationId="{2E54216B-1323-4545-B603-F537478D2283}"/>
          </ac:graphicFrameMkLst>
        </pc:graphicFrameChg>
      </pc:sldChg>
      <pc:sldChg chg="modSp mod">
        <pc:chgData name="Guarda Madriaza, Andres" userId="524f1fec-b848-4aa4-ad30-b433d0ef7cfd" providerId="ADAL" clId="{5C30DD25-D2FB-4108-A8D6-7C9E8221D2F6}" dt="2025-05-07T17:32:42.171" v="2871" actId="313"/>
        <pc:sldMkLst>
          <pc:docMk/>
          <pc:sldMk cId="1510593437" sldId="4475"/>
        </pc:sldMkLst>
        <pc:spChg chg="mod">
          <ac:chgData name="Guarda Madriaza, Andres" userId="524f1fec-b848-4aa4-ad30-b433d0ef7cfd" providerId="ADAL" clId="{5C30DD25-D2FB-4108-A8D6-7C9E8221D2F6}" dt="2025-05-07T17:32:42.171" v="2871" actId="313"/>
          <ac:spMkLst>
            <pc:docMk/>
            <pc:sldMk cId="1510593437" sldId="4475"/>
            <ac:spMk id="20" creationId="{04A01AA6-13EE-F435-C322-DB4EE87C3E97}"/>
          </ac:spMkLst>
        </pc:spChg>
      </pc:sldChg>
      <pc:sldChg chg="addSp delSp modSp del mod">
        <pc:chgData name="Guarda Madriaza, Andres" userId="524f1fec-b848-4aa4-ad30-b433d0ef7cfd" providerId="ADAL" clId="{5C30DD25-D2FB-4108-A8D6-7C9E8221D2F6}" dt="2025-05-07T17:37:04.831" v="2943" actId="47"/>
        <pc:sldMkLst>
          <pc:docMk/>
          <pc:sldMk cId="2461718685" sldId="4478"/>
        </pc:sldMkLst>
      </pc:sldChg>
      <pc:sldChg chg="modSp mod">
        <pc:chgData name="Guarda Madriaza, Andres" userId="524f1fec-b848-4aa4-ad30-b433d0ef7cfd" providerId="ADAL" clId="{5C30DD25-D2FB-4108-A8D6-7C9E8221D2F6}" dt="2025-05-07T16:07:28.617" v="5" actId="6549"/>
        <pc:sldMkLst>
          <pc:docMk/>
          <pc:sldMk cId="2915255060" sldId="4481"/>
        </pc:sldMkLst>
        <pc:spChg chg="mod">
          <ac:chgData name="Guarda Madriaza, Andres" userId="524f1fec-b848-4aa4-ad30-b433d0ef7cfd" providerId="ADAL" clId="{5C30DD25-D2FB-4108-A8D6-7C9E8221D2F6}" dt="2025-05-07T16:07:28.617" v="5" actId="6549"/>
          <ac:spMkLst>
            <pc:docMk/>
            <pc:sldMk cId="2915255060" sldId="4481"/>
            <ac:spMk id="3" creationId="{D7E63524-DB77-6E00-2435-8EF3F011249E}"/>
          </ac:spMkLst>
        </pc:spChg>
      </pc:sldChg>
      <pc:sldChg chg="modSp mod">
        <pc:chgData name="Guarda Madriaza, Andres" userId="524f1fec-b848-4aa4-ad30-b433d0ef7cfd" providerId="ADAL" clId="{5C30DD25-D2FB-4108-A8D6-7C9E8221D2F6}" dt="2025-05-07T17:48:10.414" v="3032" actId="113"/>
        <pc:sldMkLst>
          <pc:docMk/>
          <pc:sldMk cId="1384679963" sldId="4486"/>
        </pc:sldMkLst>
        <pc:spChg chg="mod">
          <ac:chgData name="Guarda Madriaza, Andres" userId="524f1fec-b848-4aa4-ad30-b433d0ef7cfd" providerId="ADAL" clId="{5C30DD25-D2FB-4108-A8D6-7C9E8221D2F6}" dt="2025-05-07T17:48:07.386" v="3031" actId="113"/>
          <ac:spMkLst>
            <pc:docMk/>
            <pc:sldMk cId="1384679963" sldId="4486"/>
            <ac:spMk id="19" creationId="{9A5914E0-4C61-ECB0-904E-74F66E01E011}"/>
          </ac:spMkLst>
        </pc:spChg>
        <pc:spChg chg="mod">
          <ac:chgData name="Guarda Madriaza, Andres" userId="524f1fec-b848-4aa4-ad30-b433d0ef7cfd" providerId="ADAL" clId="{5C30DD25-D2FB-4108-A8D6-7C9E8221D2F6}" dt="2025-05-07T17:48:10.414" v="3032" actId="113"/>
          <ac:spMkLst>
            <pc:docMk/>
            <pc:sldMk cId="1384679963" sldId="4486"/>
            <ac:spMk id="25" creationId="{06B242A2-5689-D07D-E831-AE7358C06322}"/>
          </ac:spMkLst>
        </pc:spChg>
      </pc:sldChg>
      <pc:sldChg chg="modSp mod">
        <pc:chgData name="Guarda Madriaza, Andres" userId="524f1fec-b848-4aa4-ad30-b433d0ef7cfd" providerId="ADAL" clId="{5C30DD25-D2FB-4108-A8D6-7C9E8221D2F6}" dt="2025-05-07T17:42:43.691" v="3030" actId="6549"/>
        <pc:sldMkLst>
          <pc:docMk/>
          <pc:sldMk cId="2188482161" sldId="4487"/>
        </pc:sldMkLst>
        <pc:spChg chg="mod">
          <ac:chgData name="Guarda Madriaza, Andres" userId="524f1fec-b848-4aa4-ad30-b433d0ef7cfd" providerId="ADAL" clId="{5C30DD25-D2FB-4108-A8D6-7C9E8221D2F6}" dt="2025-05-07T16:35:30.566" v="644" actId="20577"/>
          <ac:spMkLst>
            <pc:docMk/>
            <pc:sldMk cId="2188482161" sldId="4487"/>
            <ac:spMk id="5" creationId="{6AC8242F-027F-E73F-F474-662FF7A33762}"/>
          </ac:spMkLst>
        </pc:spChg>
        <pc:spChg chg="mod">
          <ac:chgData name="Guarda Madriaza, Andres" userId="524f1fec-b848-4aa4-ad30-b433d0ef7cfd" providerId="ADAL" clId="{5C30DD25-D2FB-4108-A8D6-7C9E8221D2F6}" dt="2025-05-07T17:42:43.691" v="3030" actId="6549"/>
          <ac:spMkLst>
            <pc:docMk/>
            <pc:sldMk cId="2188482161" sldId="4487"/>
            <ac:spMk id="8" creationId="{CD123C1F-C2B0-0699-057B-B0603020E71A}"/>
          </ac:spMkLst>
        </pc:spChg>
        <pc:spChg chg="mod">
          <ac:chgData name="Guarda Madriaza, Andres" userId="524f1fec-b848-4aa4-ad30-b433d0ef7cfd" providerId="ADAL" clId="{5C30DD25-D2FB-4108-A8D6-7C9E8221D2F6}" dt="2025-05-07T17:41:16.869" v="2967" actId="6549"/>
          <ac:spMkLst>
            <pc:docMk/>
            <pc:sldMk cId="2188482161" sldId="4487"/>
            <ac:spMk id="9" creationId="{29DA3ABB-07AF-92E3-B8D1-93646D8FFE9C}"/>
          </ac:spMkLst>
        </pc:spChg>
        <pc:spChg chg="mod">
          <ac:chgData name="Guarda Madriaza, Andres" userId="524f1fec-b848-4aa4-ad30-b433d0ef7cfd" providerId="ADAL" clId="{5C30DD25-D2FB-4108-A8D6-7C9E8221D2F6}" dt="2025-05-07T16:55:21.020" v="645" actId="947"/>
          <ac:spMkLst>
            <pc:docMk/>
            <pc:sldMk cId="2188482161" sldId="4487"/>
            <ac:spMk id="36" creationId="{457DCA2F-424A-448D-1F70-0B379A10D472}"/>
          </ac:spMkLst>
        </pc:spChg>
      </pc:sldChg>
      <pc:sldChg chg="modSp mod">
        <pc:chgData name="Guarda Madriaza, Andres" userId="524f1fec-b848-4aa4-ad30-b433d0ef7cfd" providerId="ADAL" clId="{5C30DD25-D2FB-4108-A8D6-7C9E8221D2F6}" dt="2025-05-07T17:04:45.679" v="1432" actId="20577"/>
        <pc:sldMkLst>
          <pc:docMk/>
          <pc:sldMk cId="2639895532" sldId="4488"/>
        </pc:sldMkLst>
        <pc:graphicFrameChg chg="modGraphic">
          <ac:chgData name="Guarda Madriaza, Andres" userId="524f1fec-b848-4aa4-ad30-b433d0ef7cfd" providerId="ADAL" clId="{5C30DD25-D2FB-4108-A8D6-7C9E8221D2F6}" dt="2025-05-07T17:04:45.679" v="1432" actId="20577"/>
          <ac:graphicFrameMkLst>
            <pc:docMk/>
            <pc:sldMk cId="2639895532" sldId="4488"/>
            <ac:graphicFrameMk id="5" creationId="{F3F10ED0-6486-E09F-D971-FB982184E638}"/>
          </ac:graphicFrameMkLst>
        </pc:graphicFrameChg>
      </pc:sldChg>
      <pc:sldChg chg="addSp delSp modSp mod">
        <pc:chgData name="Guarda Madriaza, Andres" userId="524f1fec-b848-4aa4-ad30-b433d0ef7cfd" providerId="ADAL" clId="{5C30DD25-D2FB-4108-A8D6-7C9E8221D2F6}" dt="2025-05-07T17:07:20.530" v="1439" actId="20577"/>
        <pc:sldMkLst>
          <pc:docMk/>
          <pc:sldMk cId="2824732361" sldId="4489"/>
        </pc:sldMkLst>
        <pc:spChg chg="mod">
          <ac:chgData name="Guarda Madriaza, Andres" userId="524f1fec-b848-4aa4-ad30-b433d0ef7cfd" providerId="ADAL" clId="{5C30DD25-D2FB-4108-A8D6-7C9E8221D2F6}" dt="2025-05-07T16:32:37.984" v="599"/>
          <ac:spMkLst>
            <pc:docMk/>
            <pc:sldMk cId="2824732361" sldId="4489"/>
            <ac:spMk id="3" creationId="{0BB46C2C-CA50-1249-4A21-3CD7B7C8793A}"/>
          </ac:spMkLst>
        </pc:spChg>
        <pc:spChg chg="mod">
          <ac:chgData name="Guarda Madriaza, Andres" userId="524f1fec-b848-4aa4-ad30-b433d0ef7cfd" providerId="ADAL" clId="{5C30DD25-D2FB-4108-A8D6-7C9E8221D2F6}" dt="2025-05-07T16:32:37.984" v="600"/>
          <ac:spMkLst>
            <pc:docMk/>
            <pc:sldMk cId="2824732361" sldId="4489"/>
            <ac:spMk id="4" creationId="{A640AB88-AC2D-6FAC-2A5E-9C3026DC20E1}"/>
          </ac:spMkLst>
        </pc:spChg>
        <pc:spChg chg="mod">
          <ac:chgData name="Guarda Madriaza, Andres" userId="524f1fec-b848-4aa4-ad30-b433d0ef7cfd" providerId="ADAL" clId="{5C30DD25-D2FB-4108-A8D6-7C9E8221D2F6}" dt="2025-05-07T16:32:37.984" v="601"/>
          <ac:spMkLst>
            <pc:docMk/>
            <pc:sldMk cId="2824732361" sldId="4489"/>
            <ac:spMk id="5" creationId="{77F706C4-B461-D119-A763-1606AA3D02A9}"/>
          </ac:spMkLst>
        </pc:spChg>
        <pc:spChg chg="mod ord">
          <ac:chgData name="Guarda Madriaza, Andres" userId="524f1fec-b848-4aa4-ad30-b433d0ef7cfd" providerId="ADAL" clId="{5C30DD25-D2FB-4108-A8D6-7C9E8221D2F6}" dt="2025-05-07T16:32:37.974" v="582"/>
          <ac:spMkLst>
            <pc:docMk/>
            <pc:sldMk cId="2824732361" sldId="4489"/>
            <ac:spMk id="6" creationId="{5FB2A1A7-EF40-76DD-D226-9FC601E60355}"/>
          </ac:spMkLst>
        </pc:spChg>
        <pc:spChg chg="mod">
          <ac:chgData name="Guarda Madriaza, Andres" userId="524f1fec-b848-4aa4-ad30-b433d0ef7cfd" providerId="ADAL" clId="{5C30DD25-D2FB-4108-A8D6-7C9E8221D2F6}" dt="2025-05-07T16:32:37.984" v="602"/>
          <ac:spMkLst>
            <pc:docMk/>
            <pc:sldMk cId="2824732361" sldId="4489"/>
            <ac:spMk id="8" creationId="{BB71EA1B-04DA-234C-E595-1091A37A081C}"/>
          </ac:spMkLst>
        </pc:spChg>
        <pc:spChg chg="mod">
          <ac:chgData name="Guarda Madriaza, Andres" userId="524f1fec-b848-4aa4-ad30-b433d0ef7cfd" providerId="ADAL" clId="{5C30DD25-D2FB-4108-A8D6-7C9E8221D2F6}" dt="2025-05-07T16:32:37.984" v="603"/>
          <ac:spMkLst>
            <pc:docMk/>
            <pc:sldMk cId="2824732361" sldId="4489"/>
            <ac:spMk id="9" creationId="{FE723484-3FAD-CC64-D7F0-D226CDF0FE99}"/>
          </ac:spMkLst>
        </pc:spChg>
        <pc:spChg chg="mod ord">
          <ac:chgData name="Guarda Madriaza, Andres" userId="524f1fec-b848-4aa4-ad30-b433d0ef7cfd" providerId="ADAL" clId="{5C30DD25-D2FB-4108-A8D6-7C9E8221D2F6}" dt="2025-05-07T16:32:37.974" v="580"/>
          <ac:spMkLst>
            <pc:docMk/>
            <pc:sldMk cId="2824732361" sldId="4489"/>
            <ac:spMk id="10" creationId="{2759D15C-06BE-7E1A-ED80-EBE68BAC852B}"/>
          </ac:spMkLst>
        </pc:spChg>
        <pc:spChg chg="mod ord">
          <ac:chgData name="Guarda Madriaza, Andres" userId="524f1fec-b848-4aa4-ad30-b433d0ef7cfd" providerId="ADAL" clId="{5C30DD25-D2FB-4108-A8D6-7C9E8221D2F6}" dt="2025-05-07T16:32:37.994" v="625"/>
          <ac:spMkLst>
            <pc:docMk/>
            <pc:sldMk cId="2824732361" sldId="4489"/>
            <ac:spMk id="11" creationId="{49D14489-0C9C-8323-CB1B-03B9ED9BC6A2}"/>
          </ac:spMkLst>
        </pc:spChg>
        <pc:spChg chg="mod ord">
          <ac:chgData name="Guarda Madriaza, Andres" userId="524f1fec-b848-4aa4-ad30-b433d0ef7cfd" providerId="ADAL" clId="{5C30DD25-D2FB-4108-A8D6-7C9E8221D2F6}" dt="2025-05-07T16:32:37.996" v="627"/>
          <ac:spMkLst>
            <pc:docMk/>
            <pc:sldMk cId="2824732361" sldId="4489"/>
            <ac:spMk id="12" creationId="{0B222A11-6614-424B-A2C1-C7D3F17B8F67}"/>
          </ac:spMkLst>
        </pc:spChg>
        <pc:spChg chg="add mod">
          <ac:chgData name="Guarda Madriaza, Andres" userId="524f1fec-b848-4aa4-ad30-b433d0ef7cfd" providerId="ADAL" clId="{5C30DD25-D2FB-4108-A8D6-7C9E8221D2F6}" dt="2025-05-07T16:32:37.984" v="604"/>
          <ac:spMkLst>
            <pc:docMk/>
            <pc:sldMk cId="2824732361" sldId="4489"/>
            <ac:spMk id="15" creationId="{7E48156E-6A95-A64B-8520-CD11DA6C5EEF}"/>
          </ac:spMkLst>
        </pc:spChg>
        <pc:spChg chg="add mod">
          <ac:chgData name="Guarda Madriaza, Andres" userId="524f1fec-b848-4aa4-ad30-b433d0ef7cfd" providerId="ADAL" clId="{5C30DD25-D2FB-4108-A8D6-7C9E8221D2F6}" dt="2025-05-07T16:32:37.984" v="605"/>
          <ac:spMkLst>
            <pc:docMk/>
            <pc:sldMk cId="2824732361" sldId="4489"/>
            <ac:spMk id="16" creationId="{7E48156E-6A95-A64B-8520-CD11DA6C5EEF}"/>
          </ac:spMkLst>
        </pc:spChg>
        <pc:spChg chg="mod">
          <ac:chgData name="Guarda Madriaza, Andres" userId="524f1fec-b848-4aa4-ad30-b433d0ef7cfd" providerId="ADAL" clId="{5C30DD25-D2FB-4108-A8D6-7C9E8221D2F6}" dt="2025-05-07T16:32:37.984" v="596"/>
          <ac:spMkLst>
            <pc:docMk/>
            <pc:sldMk cId="2824732361" sldId="4489"/>
            <ac:spMk id="18" creationId="{9B6F355D-242A-8609-E037-EA8281B93037}"/>
          </ac:spMkLst>
        </pc:spChg>
        <pc:spChg chg="add mod">
          <ac:chgData name="Guarda Madriaza, Andres" userId="524f1fec-b848-4aa4-ad30-b433d0ef7cfd" providerId="ADAL" clId="{5C30DD25-D2FB-4108-A8D6-7C9E8221D2F6}" dt="2025-05-07T16:32:37.984" v="606"/>
          <ac:spMkLst>
            <pc:docMk/>
            <pc:sldMk cId="2824732361" sldId="4489"/>
            <ac:spMk id="19" creationId="{7E48156E-6A95-A64B-8520-CD11DA6C5EEF}"/>
          </ac:spMkLst>
        </pc:spChg>
        <pc:spChg chg="mod">
          <ac:chgData name="Guarda Madriaza, Andres" userId="524f1fec-b848-4aa4-ad30-b433d0ef7cfd" providerId="ADAL" clId="{5C30DD25-D2FB-4108-A8D6-7C9E8221D2F6}" dt="2025-05-07T16:32:37.984" v="610"/>
          <ac:spMkLst>
            <pc:docMk/>
            <pc:sldMk cId="2824732361" sldId="4489"/>
            <ac:spMk id="20" creationId="{4F22E3BC-C101-DBDE-4DA9-49F573D88290}"/>
          </ac:spMkLst>
        </pc:spChg>
        <pc:spChg chg="mod">
          <ac:chgData name="Guarda Madriaza, Andres" userId="524f1fec-b848-4aa4-ad30-b433d0ef7cfd" providerId="ADAL" clId="{5C30DD25-D2FB-4108-A8D6-7C9E8221D2F6}" dt="2025-05-07T16:32:37.984" v="611"/>
          <ac:spMkLst>
            <pc:docMk/>
            <pc:sldMk cId="2824732361" sldId="4489"/>
            <ac:spMk id="21" creationId="{B29F323B-220F-7D45-7998-06F61B6BB0E7}"/>
          </ac:spMkLst>
        </pc:spChg>
        <pc:spChg chg="mod">
          <ac:chgData name="Guarda Madriaza, Andres" userId="524f1fec-b848-4aa4-ad30-b433d0ef7cfd" providerId="ADAL" clId="{5C30DD25-D2FB-4108-A8D6-7C9E8221D2F6}" dt="2025-05-07T16:32:37.984" v="612"/>
          <ac:spMkLst>
            <pc:docMk/>
            <pc:sldMk cId="2824732361" sldId="4489"/>
            <ac:spMk id="22" creationId="{54F7061C-85B2-DE1D-4BB6-8A9341AC8A77}"/>
          </ac:spMkLst>
        </pc:spChg>
        <pc:spChg chg="mod">
          <ac:chgData name="Guarda Madriaza, Andres" userId="524f1fec-b848-4aa4-ad30-b433d0ef7cfd" providerId="ADAL" clId="{5C30DD25-D2FB-4108-A8D6-7C9E8221D2F6}" dt="2025-05-07T16:32:37.984" v="613"/>
          <ac:spMkLst>
            <pc:docMk/>
            <pc:sldMk cId="2824732361" sldId="4489"/>
            <ac:spMk id="23" creationId="{A187CE49-324E-E591-FDFF-5015C3EADC9F}"/>
          </ac:spMkLst>
        </pc:spChg>
        <pc:spChg chg="mod">
          <ac:chgData name="Guarda Madriaza, Andres" userId="524f1fec-b848-4aa4-ad30-b433d0ef7cfd" providerId="ADAL" clId="{5C30DD25-D2FB-4108-A8D6-7C9E8221D2F6}" dt="2025-05-07T16:32:37.984" v="614"/>
          <ac:spMkLst>
            <pc:docMk/>
            <pc:sldMk cId="2824732361" sldId="4489"/>
            <ac:spMk id="24" creationId="{B3D90FA1-9F5C-D70F-F10B-B6C1C8A6A3A3}"/>
          </ac:spMkLst>
        </pc:spChg>
        <pc:spChg chg="add mod">
          <ac:chgData name="Guarda Madriaza, Andres" userId="524f1fec-b848-4aa4-ad30-b433d0ef7cfd" providerId="ADAL" clId="{5C30DD25-D2FB-4108-A8D6-7C9E8221D2F6}" dt="2025-05-07T16:32:37.984" v="607"/>
          <ac:spMkLst>
            <pc:docMk/>
            <pc:sldMk cId="2824732361" sldId="4489"/>
            <ac:spMk id="25" creationId="{7E48156E-6A95-A64B-8520-CD11DA6C5EEF}"/>
          </ac:spMkLst>
        </pc:spChg>
        <pc:spChg chg="add mod">
          <ac:chgData name="Guarda Madriaza, Andres" userId="524f1fec-b848-4aa4-ad30-b433d0ef7cfd" providerId="ADAL" clId="{5C30DD25-D2FB-4108-A8D6-7C9E8221D2F6}" dt="2025-05-07T16:32:37.984" v="615"/>
          <ac:spMkLst>
            <pc:docMk/>
            <pc:sldMk cId="2824732361" sldId="4489"/>
            <ac:spMk id="27" creationId="{7E48156E-6A95-A64B-8520-CD11DA6C5EEF}"/>
          </ac:spMkLst>
        </pc:spChg>
        <pc:spChg chg="mod">
          <ac:chgData name="Guarda Madriaza, Andres" userId="524f1fec-b848-4aa4-ad30-b433d0ef7cfd" providerId="ADAL" clId="{5C30DD25-D2FB-4108-A8D6-7C9E8221D2F6}" dt="2025-05-07T16:32:37.994" v="621"/>
          <ac:spMkLst>
            <pc:docMk/>
            <pc:sldMk cId="2824732361" sldId="4489"/>
            <ac:spMk id="29" creationId="{85EF8586-B544-F8BF-0C22-53E18F49A5F5}"/>
          </ac:spMkLst>
        </pc:spChg>
        <pc:spChg chg="add mod">
          <ac:chgData name="Guarda Madriaza, Andres" userId="524f1fec-b848-4aa4-ad30-b433d0ef7cfd" providerId="ADAL" clId="{5C30DD25-D2FB-4108-A8D6-7C9E8221D2F6}" dt="2025-05-07T16:32:37.984" v="616"/>
          <ac:spMkLst>
            <pc:docMk/>
            <pc:sldMk cId="2824732361" sldId="4489"/>
            <ac:spMk id="30" creationId="{7E48156E-6A95-A64B-8520-CD11DA6C5EEF}"/>
          </ac:spMkLst>
        </pc:spChg>
        <pc:spChg chg="add mod">
          <ac:chgData name="Guarda Madriaza, Andres" userId="524f1fec-b848-4aa4-ad30-b433d0ef7cfd" providerId="ADAL" clId="{5C30DD25-D2FB-4108-A8D6-7C9E8221D2F6}" dt="2025-05-07T16:32:37.984" v="617"/>
          <ac:spMkLst>
            <pc:docMk/>
            <pc:sldMk cId="2824732361" sldId="4489"/>
            <ac:spMk id="31" creationId="{7E48156E-6A95-A64B-8520-CD11DA6C5EEF}"/>
          </ac:spMkLst>
        </pc:spChg>
        <pc:spChg chg="add mod">
          <ac:chgData name="Guarda Madriaza, Andres" userId="524f1fec-b848-4aa4-ad30-b433d0ef7cfd" providerId="ADAL" clId="{5C30DD25-D2FB-4108-A8D6-7C9E8221D2F6}" dt="2025-05-07T16:32:37.984" v="618"/>
          <ac:spMkLst>
            <pc:docMk/>
            <pc:sldMk cId="2824732361" sldId="4489"/>
            <ac:spMk id="32" creationId="{7E48156E-6A95-A64B-8520-CD11DA6C5EEF}"/>
          </ac:spMkLst>
        </pc:spChg>
        <pc:spChg chg="mod">
          <ac:chgData name="Guarda Madriaza, Andres" userId="524f1fec-b848-4aa4-ad30-b433d0ef7cfd" providerId="ADAL" clId="{5C30DD25-D2FB-4108-A8D6-7C9E8221D2F6}" dt="2025-05-07T16:32:37.979" v="583"/>
          <ac:spMkLst>
            <pc:docMk/>
            <pc:sldMk cId="2824732361" sldId="4489"/>
            <ac:spMk id="50" creationId="{3A564A7C-0404-AF6B-12BC-736EC97B3804}"/>
          </ac:spMkLst>
        </pc:spChg>
        <pc:spChg chg="mod ord">
          <ac:chgData name="Guarda Madriaza, Andres" userId="524f1fec-b848-4aa4-ad30-b433d0ef7cfd" providerId="ADAL" clId="{5C30DD25-D2FB-4108-A8D6-7C9E8221D2F6}" dt="2025-05-07T17:07:20.530" v="1439" actId="20577"/>
          <ac:spMkLst>
            <pc:docMk/>
            <pc:sldMk cId="2824732361" sldId="4489"/>
            <ac:spMk id="73" creationId="{CDC364A9-9EEE-9C22-B2E7-BF5097EF0ADB}"/>
          </ac:spMkLst>
        </pc:spChg>
        <pc:graphicFrameChg chg="mod">
          <ac:chgData name="Guarda Madriaza, Andres" userId="524f1fec-b848-4aa4-ad30-b433d0ef7cfd" providerId="ADAL" clId="{5C30DD25-D2FB-4108-A8D6-7C9E8221D2F6}" dt="2025-05-07T16:32:37.996" v="633"/>
          <ac:graphicFrameMkLst>
            <pc:docMk/>
            <pc:sldMk cId="2824732361" sldId="4489"/>
            <ac:graphicFrameMk id="7" creationId="{B78F41AE-0B4C-4CAC-7AC8-E4D2A5A35025}"/>
          </ac:graphicFrameMkLst>
        </pc:graphicFrameChg>
        <pc:graphicFrameChg chg="add mod ord">
          <ac:chgData name="Guarda Madriaza, Andres" userId="524f1fec-b848-4aa4-ad30-b433d0ef7cfd" providerId="ADAL" clId="{5C30DD25-D2FB-4108-A8D6-7C9E8221D2F6}" dt="2025-05-07T16:32:37.984" v="598"/>
          <ac:graphicFrameMkLst>
            <pc:docMk/>
            <pc:sldMk cId="2824732361" sldId="4489"/>
            <ac:graphicFrameMk id="26" creationId="{A70F0BCE-2055-03ED-A4AB-ED96FDAED95C}"/>
          </ac:graphicFrameMkLst>
        </pc:graphicFrameChg>
        <pc:graphicFrameChg chg="add mod ord">
          <ac:chgData name="Guarda Madriaza, Andres" userId="524f1fec-b848-4aa4-ad30-b433d0ef7cfd" providerId="ADAL" clId="{5C30DD25-D2FB-4108-A8D6-7C9E8221D2F6}" dt="2025-05-07T16:32:37.984" v="609"/>
          <ac:graphicFrameMkLst>
            <pc:docMk/>
            <pc:sldMk cId="2824732361" sldId="4489"/>
            <ac:graphicFrameMk id="33" creationId="{3A2F89CD-4EDC-F6FE-466A-193B4A34D639}"/>
          </ac:graphicFrameMkLst>
        </pc:graphicFrameChg>
        <pc:picChg chg="mod ord">
          <ac:chgData name="Guarda Madriaza, Andres" userId="524f1fec-b848-4aa4-ad30-b433d0ef7cfd" providerId="ADAL" clId="{5C30DD25-D2FB-4108-A8D6-7C9E8221D2F6}" dt="2025-05-07T16:32:37.994" v="623"/>
          <ac:picMkLst>
            <pc:docMk/>
            <pc:sldMk cId="2824732361" sldId="4489"/>
            <ac:picMk id="2" creationId="{743BA1F8-7EC8-B61C-94C5-966914B6BD79}"/>
          </ac:picMkLst>
        </pc:picChg>
        <pc:picChg chg="mod ord">
          <ac:chgData name="Guarda Madriaza, Andres" userId="524f1fec-b848-4aa4-ad30-b433d0ef7cfd" providerId="ADAL" clId="{5C30DD25-D2FB-4108-A8D6-7C9E8221D2F6}" dt="2025-05-07T16:32:37.996" v="629"/>
          <ac:picMkLst>
            <pc:docMk/>
            <pc:sldMk cId="2824732361" sldId="4489"/>
            <ac:picMk id="13" creationId="{654F7D48-1931-874A-B0C5-CE2449191FDD}"/>
          </ac:picMkLst>
        </pc:picChg>
        <pc:picChg chg="mod ord">
          <ac:chgData name="Guarda Madriaza, Andres" userId="524f1fec-b848-4aa4-ad30-b433d0ef7cfd" providerId="ADAL" clId="{5C30DD25-D2FB-4108-A8D6-7C9E8221D2F6}" dt="2025-05-07T16:32:37.980" v="595"/>
          <ac:picMkLst>
            <pc:docMk/>
            <pc:sldMk cId="2824732361" sldId="4489"/>
            <ac:picMk id="17" creationId="{CDE5AA9E-302D-5B19-CA9E-1D4F12B58A82}"/>
          </ac:picMkLst>
        </pc:picChg>
        <pc:picChg chg="mod ord">
          <ac:chgData name="Guarda Madriaza, Andres" userId="524f1fec-b848-4aa4-ad30-b433d0ef7cfd" providerId="ADAL" clId="{5C30DD25-D2FB-4108-A8D6-7C9E8221D2F6}" dt="2025-05-07T16:32:37.984" v="620"/>
          <ac:picMkLst>
            <pc:docMk/>
            <pc:sldMk cId="2824732361" sldId="4489"/>
            <ac:picMk id="28" creationId="{5020D74B-C442-6BB5-929A-600C394704EA}"/>
          </ac:picMkLst>
        </pc:picChg>
        <pc:picChg chg="mod ord">
          <ac:chgData name="Guarda Madriaza, Andres" userId="524f1fec-b848-4aa4-ad30-b433d0ef7cfd" providerId="ADAL" clId="{5C30DD25-D2FB-4108-A8D6-7C9E8221D2F6}" dt="2025-05-07T16:32:37.979" v="585"/>
          <ac:picMkLst>
            <pc:docMk/>
            <pc:sldMk cId="2824732361" sldId="4489"/>
            <ac:picMk id="51" creationId="{4AA7C00E-581A-69BF-6765-95F9E18AFEC7}"/>
          </ac:picMkLst>
        </pc:picChg>
        <pc:picChg chg="mod ord">
          <ac:chgData name="Guarda Madriaza, Andres" userId="524f1fec-b848-4aa4-ad30-b433d0ef7cfd" providerId="ADAL" clId="{5C30DD25-D2FB-4108-A8D6-7C9E8221D2F6}" dt="2025-05-07T16:32:37.980" v="589"/>
          <ac:picMkLst>
            <pc:docMk/>
            <pc:sldMk cId="2824732361" sldId="4489"/>
            <ac:picMk id="74" creationId="{4BDB75F2-9453-6A6A-4625-0DF24EFD350E}"/>
          </ac:picMkLst>
        </pc:picChg>
        <pc:picChg chg="mod ord">
          <ac:chgData name="Guarda Madriaza, Andres" userId="524f1fec-b848-4aa4-ad30-b433d0ef7cfd" providerId="ADAL" clId="{5C30DD25-D2FB-4108-A8D6-7C9E8221D2F6}" dt="2025-05-07T16:32:37.980" v="591"/>
          <ac:picMkLst>
            <pc:docMk/>
            <pc:sldMk cId="2824732361" sldId="4489"/>
            <ac:picMk id="93" creationId="{E41BE717-1EED-F9B6-67BA-D625232F5541}"/>
          </ac:picMkLst>
        </pc:picChg>
        <pc:picChg chg="mod ord">
          <ac:chgData name="Guarda Madriaza, Andres" userId="524f1fec-b848-4aa4-ad30-b433d0ef7cfd" providerId="ADAL" clId="{5C30DD25-D2FB-4108-A8D6-7C9E8221D2F6}" dt="2025-05-07T16:32:37.980" v="593"/>
          <ac:picMkLst>
            <pc:docMk/>
            <pc:sldMk cId="2824732361" sldId="4489"/>
            <ac:picMk id="94" creationId="{7B159B20-774D-37B4-5CAC-8731F3DF254B}"/>
          </ac:picMkLst>
        </pc:picChg>
      </pc:sldChg>
      <pc:sldChg chg="addSp delSp modSp mod">
        <pc:chgData name="Guarda Madriaza, Andres" userId="524f1fec-b848-4aa4-ad30-b433d0ef7cfd" providerId="ADAL" clId="{5C30DD25-D2FB-4108-A8D6-7C9E8221D2F6}" dt="2025-05-07T17:09:32.537" v="2081" actId="20577"/>
        <pc:sldMkLst>
          <pc:docMk/>
          <pc:sldMk cId="2125061091" sldId="4490"/>
        </pc:sldMkLst>
        <pc:spChg chg="mod">
          <ac:chgData name="Guarda Madriaza, Andres" userId="524f1fec-b848-4aa4-ad30-b433d0ef7cfd" providerId="ADAL" clId="{5C30DD25-D2FB-4108-A8D6-7C9E8221D2F6}" dt="2025-05-07T17:08:18.539" v="2019"/>
          <ac:spMkLst>
            <pc:docMk/>
            <pc:sldMk cId="2125061091" sldId="4490"/>
            <ac:spMk id="3" creationId="{EB4552C0-83C9-32EA-78A5-BF5E7A4CA747}"/>
          </ac:spMkLst>
        </pc:spChg>
        <pc:spChg chg="mod">
          <ac:chgData name="Guarda Madriaza, Andres" userId="524f1fec-b848-4aa4-ad30-b433d0ef7cfd" providerId="ADAL" clId="{5C30DD25-D2FB-4108-A8D6-7C9E8221D2F6}" dt="2025-05-07T17:08:18.545" v="2022"/>
          <ac:spMkLst>
            <pc:docMk/>
            <pc:sldMk cId="2125061091" sldId="4490"/>
            <ac:spMk id="4" creationId="{7E48156E-6A95-A64B-8520-CD11DA6C5EEF}"/>
          </ac:spMkLst>
        </pc:spChg>
        <pc:spChg chg="mod ord">
          <ac:chgData name="Guarda Madriaza, Andres" userId="524f1fec-b848-4aa4-ad30-b433d0ef7cfd" providerId="ADAL" clId="{5C30DD25-D2FB-4108-A8D6-7C9E8221D2F6}" dt="2025-05-07T17:08:18.558" v="2043"/>
          <ac:spMkLst>
            <pc:docMk/>
            <pc:sldMk cId="2125061091" sldId="4490"/>
            <ac:spMk id="5" creationId="{61DC3275-B8D9-B5F5-040F-B12BE9DA1B5D}"/>
          </ac:spMkLst>
        </pc:spChg>
        <pc:spChg chg="mod ord">
          <ac:chgData name="Guarda Madriaza, Andres" userId="524f1fec-b848-4aa4-ad30-b433d0ef7cfd" providerId="ADAL" clId="{5C30DD25-D2FB-4108-A8D6-7C9E8221D2F6}" dt="2025-05-07T17:08:18.530" v="2000"/>
          <ac:spMkLst>
            <pc:docMk/>
            <pc:sldMk cId="2125061091" sldId="4490"/>
            <ac:spMk id="6" creationId="{BF414253-9FCB-E108-A0A2-3C127AC2421F}"/>
          </ac:spMkLst>
        </pc:spChg>
        <pc:spChg chg="mod">
          <ac:chgData name="Guarda Madriaza, Andres" userId="524f1fec-b848-4aa4-ad30-b433d0ef7cfd" providerId="ADAL" clId="{5C30DD25-D2FB-4108-A8D6-7C9E8221D2F6}" dt="2025-05-07T17:08:18.530" v="2011"/>
          <ac:spMkLst>
            <pc:docMk/>
            <pc:sldMk cId="2125061091" sldId="4490"/>
            <ac:spMk id="8" creationId="{9941D662-747A-0476-62DA-A304C4D9229B}"/>
          </ac:spMkLst>
        </pc:spChg>
        <pc:spChg chg="mod ord">
          <ac:chgData name="Guarda Madriaza, Andres" userId="524f1fec-b848-4aa4-ad30-b433d0ef7cfd" providerId="ADAL" clId="{5C30DD25-D2FB-4108-A8D6-7C9E8221D2F6}" dt="2025-05-07T17:08:18.530" v="1998"/>
          <ac:spMkLst>
            <pc:docMk/>
            <pc:sldMk cId="2125061091" sldId="4490"/>
            <ac:spMk id="10" creationId="{35EB8480-7490-230E-AE0C-D9EC6F0D8BAD}"/>
          </ac:spMkLst>
        </pc:spChg>
        <pc:spChg chg="mod ord">
          <ac:chgData name="Guarda Madriaza, Andres" userId="524f1fec-b848-4aa4-ad30-b433d0ef7cfd" providerId="ADAL" clId="{5C30DD25-D2FB-4108-A8D6-7C9E8221D2F6}" dt="2025-05-07T17:08:18.559" v="2046"/>
          <ac:spMkLst>
            <pc:docMk/>
            <pc:sldMk cId="2125061091" sldId="4490"/>
            <ac:spMk id="11" creationId="{780FC4BF-6385-DFE0-D26D-0AB2300C9EC5}"/>
          </ac:spMkLst>
        </pc:spChg>
        <pc:spChg chg="mod">
          <ac:chgData name="Guarda Madriaza, Andres" userId="524f1fec-b848-4aa4-ad30-b433d0ef7cfd" providerId="ADAL" clId="{5C30DD25-D2FB-4108-A8D6-7C9E8221D2F6}" dt="2025-05-07T17:09:32.537" v="2081" actId="20577"/>
          <ac:spMkLst>
            <pc:docMk/>
            <pc:sldMk cId="2125061091" sldId="4490"/>
            <ac:spMk id="12" creationId="{CD0EDC96-5A83-A27F-AAA7-252E6792803C}"/>
          </ac:spMkLst>
        </pc:spChg>
        <pc:spChg chg="mod ord">
          <ac:chgData name="Guarda Madriaza, Andres" userId="524f1fec-b848-4aa4-ad30-b433d0ef7cfd" providerId="ADAL" clId="{5C30DD25-D2FB-4108-A8D6-7C9E8221D2F6}" dt="2025-05-07T17:08:18.560" v="2048"/>
          <ac:spMkLst>
            <pc:docMk/>
            <pc:sldMk cId="2125061091" sldId="4490"/>
            <ac:spMk id="13" creationId="{E313F3D6-B10F-E38C-24E8-17B263275493}"/>
          </ac:spMkLst>
        </pc:spChg>
        <pc:spChg chg="mod">
          <ac:chgData name="Guarda Madriaza, Andres" userId="524f1fec-b848-4aa4-ad30-b433d0ef7cfd" providerId="ADAL" clId="{5C30DD25-D2FB-4108-A8D6-7C9E8221D2F6}" dt="2025-05-07T17:08:18.545" v="2023"/>
          <ac:spMkLst>
            <pc:docMk/>
            <pc:sldMk cId="2125061091" sldId="4490"/>
            <ac:spMk id="14" creationId="{7E48156E-6A95-A64B-8520-CD11DA6C5EEF}"/>
          </ac:spMkLst>
        </pc:spChg>
        <pc:spChg chg="add mod">
          <ac:chgData name="Guarda Madriaza, Andres" userId="524f1fec-b848-4aa4-ad30-b433d0ef7cfd" providerId="ADAL" clId="{5C30DD25-D2FB-4108-A8D6-7C9E8221D2F6}" dt="2025-05-07T17:08:18.551" v="2027"/>
          <ac:spMkLst>
            <pc:docMk/>
            <pc:sldMk cId="2125061091" sldId="4490"/>
            <ac:spMk id="16" creationId="{7E48156E-6A95-A64B-8520-CD11DA6C5EEF}"/>
          </ac:spMkLst>
        </pc:spChg>
        <pc:spChg chg="mod">
          <ac:chgData name="Guarda Madriaza, Andres" userId="524f1fec-b848-4aa4-ad30-b433d0ef7cfd" providerId="ADAL" clId="{5C30DD25-D2FB-4108-A8D6-7C9E8221D2F6}" dt="2025-05-07T17:08:18.539" v="2016"/>
          <ac:spMkLst>
            <pc:docMk/>
            <pc:sldMk cId="2125061091" sldId="4490"/>
            <ac:spMk id="18" creationId="{55B1767B-7A2F-3A6C-9215-692B682C48BE}"/>
          </ac:spMkLst>
        </pc:spChg>
        <pc:spChg chg="add mod">
          <ac:chgData name="Guarda Madriaza, Andres" userId="524f1fec-b848-4aa4-ad30-b433d0ef7cfd" providerId="ADAL" clId="{5C30DD25-D2FB-4108-A8D6-7C9E8221D2F6}" dt="2025-05-07T17:08:18.552" v="2028"/>
          <ac:spMkLst>
            <pc:docMk/>
            <pc:sldMk cId="2125061091" sldId="4490"/>
            <ac:spMk id="19" creationId="{7E48156E-6A95-A64B-8520-CD11DA6C5EEF}"/>
          </ac:spMkLst>
        </pc:spChg>
        <pc:spChg chg="mod">
          <ac:chgData name="Guarda Madriaza, Andres" userId="524f1fec-b848-4aa4-ad30-b433d0ef7cfd" providerId="ADAL" clId="{5C30DD25-D2FB-4108-A8D6-7C9E8221D2F6}" dt="2025-05-07T17:08:18.547" v="2024"/>
          <ac:spMkLst>
            <pc:docMk/>
            <pc:sldMk cId="2125061091" sldId="4490"/>
            <ac:spMk id="20" creationId="{7E48156E-6A95-A64B-8520-CD11DA6C5EEF}"/>
          </ac:spMkLst>
        </pc:spChg>
        <pc:spChg chg="mod">
          <ac:chgData name="Guarda Madriaza, Andres" userId="524f1fec-b848-4aa4-ad30-b433d0ef7cfd" providerId="ADAL" clId="{5C30DD25-D2FB-4108-A8D6-7C9E8221D2F6}" dt="2025-05-07T17:08:18.548" v="2025"/>
          <ac:spMkLst>
            <pc:docMk/>
            <pc:sldMk cId="2125061091" sldId="4490"/>
            <ac:spMk id="21" creationId="{7E48156E-6A95-A64B-8520-CD11DA6C5EEF}"/>
          </ac:spMkLst>
        </pc:spChg>
        <pc:spChg chg="mod">
          <ac:chgData name="Guarda Madriaza, Andres" userId="524f1fec-b848-4aa4-ad30-b433d0ef7cfd" providerId="ADAL" clId="{5C30DD25-D2FB-4108-A8D6-7C9E8221D2F6}" dt="2025-05-07T17:08:18.550" v="2026"/>
          <ac:spMkLst>
            <pc:docMk/>
            <pc:sldMk cId="2125061091" sldId="4490"/>
            <ac:spMk id="22" creationId="{7E48156E-6A95-A64B-8520-CD11DA6C5EEF}"/>
          </ac:spMkLst>
        </pc:spChg>
        <pc:spChg chg="add mod">
          <ac:chgData name="Guarda Madriaza, Andres" userId="524f1fec-b848-4aa4-ad30-b433d0ef7cfd" providerId="ADAL" clId="{5C30DD25-D2FB-4108-A8D6-7C9E8221D2F6}" dt="2025-05-07T17:08:18.552" v="2029"/>
          <ac:spMkLst>
            <pc:docMk/>
            <pc:sldMk cId="2125061091" sldId="4490"/>
            <ac:spMk id="23" creationId="{7E48156E-6A95-A64B-8520-CD11DA6C5EEF}"/>
          </ac:spMkLst>
        </pc:spChg>
        <pc:spChg chg="add mod">
          <ac:chgData name="Guarda Madriaza, Andres" userId="524f1fec-b848-4aa4-ad30-b433d0ef7cfd" providerId="ADAL" clId="{5C30DD25-D2FB-4108-A8D6-7C9E8221D2F6}" dt="2025-05-07T17:08:18.552" v="2030"/>
          <ac:spMkLst>
            <pc:docMk/>
            <pc:sldMk cId="2125061091" sldId="4490"/>
            <ac:spMk id="24" creationId="{7E48156E-6A95-A64B-8520-CD11DA6C5EEF}"/>
          </ac:spMkLst>
        </pc:spChg>
        <pc:spChg chg="mod">
          <ac:chgData name="Guarda Madriaza, Andres" userId="524f1fec-b848-4aa4-ad30-b433d0ef7cfd" providerId="ADAL" clId="{5C30DD25-D2FB-4108-A8D6-7C9E8221D2F6}" dt="2025-05-07T17:08:18.554" v="2033"/>
          <ac:spMkLst>
            <pc:docMk/>
            <pc:sldMk cId="2125061091" sldId="4490"/>
            <ac:spMk id="26" creationId="{7E48156E-6A95-A64B-8520-CD11DA6C5EEF}"/>
          </ac:spMkLst>
        </pc:spChg>
        <pc:spChg chg="add mod">
          <ac:chgData name="Guarda Madriaza, Andres" userId="524f1fec-b848-4aa4-ad30-b433d0ef7cfd" providerId="ADAL" clId="{5C30DD25-D2FB-4108-A8D6-7C9E8221D2F6}" dt="2025-05-07T17:08:18.556" v="2038"/>
          <ac:spMkLst>
            <pc:docMk/>
            <pc:sldMk cId="2125061091" sldId="4490"/>
            <ac:spMk id="27" creationId="{7E48156E-6A95-A64B-8520-CD11DA6C5EEF}"/>
          </ac:spMkLst>
        </pc:spChg>
        <pc:spChg chg="mod">
          <ac:chgData name="Guarda Madriaza, Andres" userId="524f1fec-b848-4aa4-ad30-b433d0ef7cfd" providerId="ADAL" clId="{5C30DD25-D2FB-4108-A8D6-7C9E8221D2F6}" dt="2025-05-07T17:08:18.554" v="2034"/>
          <ac:spMkLst>
            <pc:docMk/>
            <pc:sldMk cId="2125061091" sldId="4490"/>
            <ac:spMk id="28" creationId="{7E48156E-6A95-A64B-8520-CD11DA6C5EEF}"/>
          </ac:spMkLst>
        </pc:spChg>
        <pc:spChg chg="mod">
          <ac:chgData name="Guarda Madriaza, Andres" userId="524f1fec-b848-4aa4-ad30-b433d0ef7cfd" providerId="ADAL" clId="{5C30DD25-D2FB-4108-A8D6-7C9E8221D2F6}" dt="2025-05-07T17:08:18.555" v="2035"/>
          <ac:spMkLst>
            <pc:docMk/>
            <pc:sldMk cId="2125061091" sldId="4490"/>
            <ac:spMk id="29" creationId="{7E48156E-6A95-A64B-8520-CD11DA6C5EEF}"/>
          </ac:spMkLst>
        </pc:spChg>
        <pc:spChg chg="mod">
          <ac:chgData name="Guarda Madriaza, Andres" userId="524f1fec-b848-4aa4-ad30-b433d0ef7cfd" providerId="ADAL" clId="{5C30DD25-D2FB-4108-A8D6-7C9E8221D2F6}" dt="2025-05-07T17:08:18.555" v="2036"/>
          <ac:spMkLst>
            <pc:docMk/>
            <pc:sldMk cId="2125061091" sldId="4490"/>
            <ac:spMk id="30" creationId="{7E48156E-6A95-A64B-8520-CD11DA6C5EEF}"/>
          </ac:spMkLst>
        </pc:spChg>
        <pc:spChg chg="mod">
          <ac:chgData name="Guarda Madriaza, Andres" userId="524f1fec-b848-4aa4-ad30-b433d0ef7cfd" providerId="ADAL" clId="{5C30DD25-D2FB-4108-A8D6-7C9E8221D2F6}" dt="2025-05-07T17:08:18.556" v="2037"/>
          <ac:spMkLst>
            <pc:docMk/>
            <pc:sldMk cId="2125061091" sldId="4490"/>
            <ac:spMk id="31" creationId="{7E48156E-6A95-A64B-8520-CD11DA6C5EEF}"/>
          </ac:spMkLst>
        </pc:spChg>
        <pc:spChg chg="add mod">
          <ac:chgData name="Guarda Madriaza, Andres" userId="524f1fec-b848-4aa4-ad30-b433d0ef7cfd" providerId="ADAL" clId="{5C30DD25-D2FB-4108-A8D6-7C9E8221D2F6}" dt="2025-05-07T17:08:18.557" v="2039"/>
          <ac:spMkLst>
            <pc:docMk/>
            <pc:sldMk cId="2125061091" sldId="4490"/>
            <ac:spMk id="32" creationId="{7E48156E-6A95-A64B-8520-CD11DA6C5EEF}"/>
          </ac:spMkLst>
        </pc:spChg>
        <pc:spChg chg="add mod">
          <ac:chgData name="Guarda Madriaza, Andres" userId="524f1fec-b848-4aa4-ad30-b433d0ef7cfd" providerId="ADAL" clId="{5C30DD25-D2FB-4108-A8D6-7C9E8221D2F6}" dt="2025-05-07T17:08:18.557" v="2040"/>
          <ac:spMkLst>
            <pc:docMk/>
            <pc:sldMk cId="2125061091" sldId="4490"/>
            <ac:spMk id="33" creationId="{7E48156E-6A95-A64B-8520-CD11DA6C5EEF}"/>
          </ac:spMkLst>
        </pc:spChg>
        <pc:spChg chg="add mod">
          <ac:chgData name="Guarda Madriaza, Andres" userId="524f1fec-b848-4aa4-ad30-b433d0ef7cfd" providerId="ADAL" clId="{5C30DD25-D2FB-4108-A8D6-7C9E8221D2F6}" dt="2025-05-07T17:08:18.558" v="2041"/>
          <ac:spMkLst>
            <pc:docMk/>
            <pc:sldMk cId="2125061091" sldId="4490"/>
            <ac:spMk id="34" creationId="{7E48156E-6A95-A64B-8520-CD11DA6C5EEF}"/>
          </ac:spMkLst>
        </pc:spChg>
        <pc:spChg chg="mod ord">
          <ac:chgData name="Guarda Madriaza, Andres" userId="524f1fec-b848-4aa4-ad30-b433d0ef7cfd" providerId="ADAL" clId="{5C30DD25-D2FB-4108-A8D6-7C9E8221D2F6}" dt="2025-05-07T17:09:06.476" v="2078" actId="20577"/>
          <ac:spMkLst>
            <pc:docMk/>
            <pc:sldMk cId="2125061091" sldId="4490"/>
            <ac:spMk id="73" creationId="{9000E80C-7279-1C28-7A7B-9C69EC4760B8}"/>
          </ac:spMkLst>
        </pc:spChg>
        <pc:graphicFrameChg chg="mod">
          <ac:chgData name="Guarda Madriaza, Andres" userId="524f1fec-b848-4aa4-ad30-b433d0ef7cfd" providerId="ADAL" clId="{5C30DD25-D2FB-4108-A8D6-7C9E8221D2F6}" dt="2025-05-07T17:08:18.562" v="2052"/>
          <ac:graphicFrameMkLst>
            <pc:docMk/>
            <pc:sldMk cId="2125061091" sldId="4490"/>
            <ac:graphicFrameMk id="7" creationId="{2142E86D-5042-A999-705F-BB951B1722C4}"/>
          </ac:graphicFrameMkLst>
        </pc:graphicFrameChg>
        <pc:graphicFrameChg chg="add mod ord">
          <ac:chgData name="Guarda Madriaza, Andres" userId="524f1fec-b848-4aa4-ad30-b433d0ef7cfd" providerId="ADAL" clId="{5C30DD25-D2FB-4108-A8D6-7C9E8221D2F6}" dt="2025-05-07T17:08:18.544" v="2021"/>
          <ac:graphicFrameMkLst>
            <pc:docMk/>
            <pc:sldMk cId="2125061091" sldId="4490"/>
            <ac:graphicFrameMk id="25" creationId="{F9B793FC-4E22-755F-F1AC-A71719B6655A}"/>
          </ac:graphicFrameMkLst>
        </pc:graphicFrameChg>
        <pc:graphicFrameChg chg="add mod ord">
          <ac:chgData name="Guarda Madriaza, Andres" userId="524f1fec-b848-4aa4-ad30-b433d0ef7cfd" providerId="ADAL" clId="{5C30DD25-D2FB-4108-A8D6-7C9E8221D2F6}" dt="2025-05-07T17:08:18.553" v="2032"/>
          <ac:graphicFrameMkLst>
            <pc:docMk/>
            <pc:sldMk cId="2125061091" sldId="4490"/>
            <ac:graphicFrameMk id="35" creationId="{526094DE-46DA-3AA2-0685-E05035EA3DCF}"/>
          </ac:graphicFrameMkLst>
        </pc:graphicFrameChg>
        <pc:picChg chg="mod ord">
          <ac:chgData name="Guarda Madriaza, Andres" userId="524f1fec-b848-4aa4-ad30-b433d0ef7cfd" providerId="ADAL" clId="{5C30DD25-D2FB-4108-A8D6-7C9E8221D2F6}" dt="2025-05-07T17:08:18.539" v="2018"/>
          <ac:picMkLst>
            <pc:docMk/>
            <pc:sldMk cId="2125061091" sldId="4490"/>
            <ac:picMk id="2" creationId="{D92E8953-0688-E227-1724-44D3E915F246}"/>
          </ac:picMkLst>
        </pc:picChg>
        <pc:picChg chg="mod ord">
          <ac:chgData name="Guarda Madriaza, Andres" userId="524f1fec-b848-4aa4-ad30-b433d0ef7cfd" providerId="ADAL" clId="{5C30DD25-D2FB-4108-A8D6-7C9E8221D2F6}" dt="2025-05-07T17:08:18.530" v="2013"/>
          <ac:picMkLst>
            <pc:docMk/>
            <pc:sldMk cId="2125061091" sldId="4490"/>
            <ac:picMk id="9" creationId="{22991B33-0F6E-A47C-F958-1EA57C721535}"/>
          </ac:picMkLst>
        </pc:picChg>
        <pc:picChg chg="mod ord">
          <ac:chgData name="Guarda Madriaza, Andres" userId="524f1fec-b848-4aa4-ad30-b433d0ef7cfd" providerId="ADAL" clId="{5C30DD25-D2FB-4108-A8D6-7C9E8221D2F6}" dt="2025-05-07T17:08:18.539" v="2015"/>
          <ac:picMkLst>
            <pc:docMk/>
            <pc:sldMk cId="2125061091" sldId="4490"/>
            <ac:picMk id="17" creationId="{B85AAE45-5516-AF86-4D35-48E77B5A1DCD}"/>
          </ac:picMkLst>
        </pc:picChg>
        <pc:picChg chg="mod ord">
          <ac:chgData name="Guarda Madriaza, Andres" userId="524f1fec-b848-4aa4-ad30-b433d0ef7cfd" providerId="ADAL" clId="{5C30DD25-D2FB-4108-A8D6-7C9E8221D2F6}" dt="2025-05-07T17:08:18.530" v="2004"/>
          <ac:picMkLst>
            <pc:docMk/>
            <pc:sldMk cId="2125061091" sldId="4490"/>
            <ac:picMk id="74" creationId="{471C136E-FB79-1F57-4F0E-DD2696D0991B}"/>
          </ac:picMkLst>
        </pc:picChg>
        <pc:picChg chg="mod ord">
          <ac:chgData name="Guarda Madriaza, Andres" userId="524f1fec-b848-4aa4-ad30-b433d0ef7cfd" providerId="ADAL" clId="{5C30DD25-D2FB-4108-A8D6-7C9E8221D2F6}" dt="2025-05-07T17:08:18.530" v="2006"/>
          <ac:picMkLst>
            <pc:docMk/>
            <pc:sldMk cId="2125061091" sldId="4490"/>
            <ac:picMk id="75" creationId="{3EE01F89-0EAA-515B-953A-C4A90EEC8E30}"/>
          </ac:picMkLst>
        </pc:picChg>
        <pc:picChg chg="mod ord">
          <ac:chgData name="Guarda Madriaza, Andres" userId="524f1fec-b848-4aa4-ad30-b433d0ef7cfd" providerId="ADAL" clId="{5C30DD25-D2FB-4108-A8D6-7C9E8221D2F6}" dt="2025-05-07T17:08:18.530" v="2008"/>
          <ac:picMkLst>
            <pc:docMk/>
            <pc:sldMk cId="2125061091" sldId="4490"/>
            <ac:picMk id="93" creationId="{1133B4E6-E29B-C5EC-6CA1-5AA88538E59B}"/>
          </ac:picMkLst>
        </pc:picChg>
        <pc:picChg chg="mod ord">
          <ac:chgData name="Guarda Madriaza, Andres" userId="524f1fec-b848-4aa4-ad30-b433d0ef7cfd" providerId="ADAL" clId="{5C30DD25-D2FB-4108-A8D6-7C9E8221D2F6}" dt="2025-05-07T17:08:18.530" v="2010"/>
          <ac:picMkLst>
            <pc:docMk/>
            <pc:sldMk cId="2125061091" sldId="4490"/>
            <ac:picMk id="94" creationId="{278EDCDC-0114-3DDD-B79E-292C5C7A4B0C}"/>
          </ac:picMkLst>
        </pc:picChg>
      </pc:sldChg>
      <pc:sldChg chg="addSp delSp modSp mod">
        <pc:chgData name="Guarda Madriaza, Andres" userId="524f1fec-b848-4aa4-ad30-b433d0ef7cfd" providerId="ADAL" clId="{5C30DD25-D2FB-4108-A8D6-7C9E8221D2F6}" dt="2025-05-07T17:10:37.149" v="2426" actId="20577"/>
        <pc:sldMkLst>
          <pc:docMk/>
          <pc:sldMk cId="1487440770" sldId="4491"/>
        </pc:sldMkLst>
        <pc:spChg chg="mod ord">
          <ac:chgData name="Guarda Madriaza, Andres" userId="524f1fec-b848-4aa4-ad30-b433d0ef7cfd" providerId="ADAL" clId="{5C30DD25-D2FB-4108-A8D6-7C9E8221D2F6}" dt="2025-05-07T17:09:35.782" v="2403"/>
          <ac:spMkLst>
            <pc:docMk/>
            <pc:sldMk cId="1487440770" sldId="4491"/>
            <ac:spMk id="2" creationId="{AC31CF0C-F5C9-55FB-B7FE-56A979BB9F4F}"/>
          </ac:spMkLst>
        </pc:spChg>
        <pc:spChg chg="mod ord">
          <ac:chgData name="Guarda Madriaza, Andres" userId="524f1fec-b848-4aa4-ad30-b433d0ef7cfd" providerId="ADAL" clId="{5C30DD25-D2FB-4108-A8D6-7C9E8221D2F6}" dt="2025-05-07T17:09:35.782" v="2412"/>
          <ac:spMkLst>
            <pc:docMk/>
            <pc:sldMk cId="1487440770" sldId="4491"/>
            <ac:spMk id="3" creationId="{10A336F2-66C8-56E7-DEC1-1F9873ED4ADF}"/>
          </ac:spMkLst>
        </pc:spChg>
        <pc:spChg chg="mod ord">
          <ac:chgData name="Guarda Madriaza, Andres" userId="524f1fec-b848-4aa4-ad30-b433d0ef7cfd" providerId="ADAL" clId="{5C30DD25-D2FB-4108-A8D6-7C9E8221D2F6}" dt="2025-05-07T17:09:35.782" v="2414"/>
          <ac:spMkLst>
            <pc:docMk/>
            <pc:sldMk cId="1487440770" sldId="4491"/>
            <ac:spMk id="5" creationId="{BF5247B1-38BC-3E17-5A0C-ED7CC0EB4AA0}"/>
          </ac:spMkLst>
        </pc:spChg>
        <pc:spChg chg="mod">
          <ac:chgData name="Guarda Madriaza, Andres" userId="524f1fec-b848-4aa4-ad30-b433d0ef7cfd" providerId="ADAL" clId="{5C30DD25-D2FB-4108-A8D6-7C9E8221D2F6}" dt="2025-05-07T17:09:35.774" v="2383"/>
          <ac:spMkLst>
            <pc:docMk/>
            <pc:sldMk cId="1487440770" sldId="4491"/>
            <ac:spMk id="8" creationId="{08B006DB-8627-1C79-E070-93D5B2B994B2}"/>
          </ac:spMkLst>
        </pc:spChg>
        <pc:spChg chg="add mod">
          <ac:chgData name="Guarda Madriaza, Andres" userId="524f1fec-b848-4aa4-ad30-b433d0ef7cfd" providerId="ADAL" clId="{5C30DD25-D2FB-4108-A8D6-7C9E8221D2F6}" dt="2025-05-07T17:09:35.779" v="2391"/>
          <ac:spMkLst>
            <pc:docMk/>
            <pc:sldMk cId="1487440770" sldId="4491"/>
            <ac:spMk id="9" creationId="{7E48156E-6A95-A64B-8520-CD11DA6C5EEF}"/>
          </ac:spMkLst>
        </pc:spChg>
        <pc:spChg chg="mod ord">
          <ac:chgData name="Guarda Madriaza, Andres" userId="524f1fec-b848-4aa4-ad30-b433d0ef7cfd" providerId="ADAL" clId="{5C30DD25-D2FB-4108-A8D6-7C9E8221D2F6}" dt="2025-05-07T17:09:35.769" v="2370"/>
          <ac:spMkLst>
            <pc:docMk/>
            <pc:sldMk cId="1487440770" sldId="4491"/>
            <ac:spMk id="10" creationId="{6B39C234-0FBE-19E7-E5FD-1A45F762B09A}"/>
          </ac:spMkLst>
        </pc:spChg>
        <pc:spChg chg="mod">
          <ac:chgData name="Guarda Madriaza, Andres" userId="524f1fec-b848-4aa4-ad30-b433d0ef7cfd" providerId="ADAL" clId="{5C30DD25-D2FB-4108-A8D6-7C9E8221D2F6}" dt="2025-05-07T17:09:35.782" v="2406"/>
          <ac:spMkLst>
            <pc:docMk/>
            <pc:sldMk cId="1487440770" sldId="4491"/>
            <ac:spMk id="12" creationId="{45B9942D-AB92-6A86-6C0D-2F02A550EC61}"/>
          </ac:spMkLst>
        </pc:spChg>
        <pc:spChg chg="mod">
          <ac:chgData name="Guarda Madriaza, Andres" userId="524f1fec-b848-4aa4-ad30-b433d0ef7cfd" providerId="ADAL" clId="{5C30DD25-D2FB-4108-A8D6-7C9E8221D2F6}" dt="2025-05-07T17:09:47.669" v="2422" actId="14100"/>
          <ac:spMkLst>
            <pc:docMk/>
            <pc:sldMk cId="1487440770" sldId="4491"/>
            <ac:spMk id="13" creationId="{D82F3C46-56B7-E92C-D58F-18DF6BECB175}"/>
          </ac:spMkLst>
        </pc:spChg>
        <pc:spChg chg="add mod">
          <ac:chgData name="Guarda Madriaza, Andres" userId="524f1fec-b848-4aa4-ad30-b433d0ef7cfd" providerId="ADAL" clId="{5C30DD25-D2FB-4108-A8D6-7C9E8221D2F6}" dt="2025-05-07T17:09:35.779" v="2392"/>
          <ac:spMkLst>
            <pc:docMk/>
            <pc:sldMk cId="1487440770" sldId="4491"/>
            <ac:spMk id="14" creationId="{7E48156E-6A95-A64B-8520-CD11DA6C5EEF}"/>
          </ac:spMkLst>
        </pc:spChg>
        <pc:spChg chg="add mod">
          <ac:chgData name="Guarda Madriaza, Andres" userId="524f1fec-b848-4aa4-ad30-b433d0ef7cfd" providerId="ADAL" clId="{5C30DD25-D2FB-4108-A8D6-7C9E8221D2F6}" dt="2025-05-07T17:09:35.779" v="2393"/>
          <ac:spMkLst>
            <pc:docMk/>
            <pc:sldMk cId="1487440770" sldId="4491"/>
            <ac:spMk id="15" creationId="{7E48156E-6A95-A64B-8520-CD11DA6C5EEF}"/>
          </ac:spMkLst>
        </pc:spChg>
        <pc:spChg chg="add mod">
          <ac:chgData name="Guarda Madriaza, Andres" userId="524f1fec-b848-4aa4-ad30-b433d0ef7cfd" providerId="ADAL" clId="{5C30DD25-D2FB-4108-A8D6-7C9E8221D2F6}" dt="2025-05-07T17:09:35.779" v="2394"/>
          <ac:spMkLst>
            <pc:docMk/>
            <pc:sldMk cId="1487440770" sldId="4491"/>
            <ac:spMk id="16" creationId="{7E48156E-6A95-A64B-8520-CD11DA6C5EEF}"/>
          </ac:spMkLst>
        </pc:spChg>
        <pc:spChg chg="mod ord">
          <ac:chgData name="Guarda Madriaza, Andres" userId="524f1fec-b848-4aa4-ad30-b433d0ef7cfd" providerId="ADAL" clId="{5C30DD25-D2FB-4108-A8D6-7C9E8221D2F6}" dt="2025-05-07T17:09:35.769" v="2368"/>
          <ac:spMkLst>
            <pc:docMk/>
            <pc:sldMk cId="1487440770" sldId="4491"/>
            <ac:spMk id="18" creationId="{8035E710-3277-BF78-97F7-CD5FEA0CFCFA}"/>
          </ac:spMkLst>
        </pc:spChg>
        <pc:spChg chg="mod">
          <ac:chgData name="Guarda Madriaza, Andres" userId="524f1fec-b848-4aa4-ad30-b433d0ef7cfd" providerId="ADAL" clId="{5C30DD25-D2FB-4108-A8D6-7C9E8221D2F6}" dt="2025-05-07T17:09:35.782" v="2410"/>
          <ac:spMkLst>
            <pc:docMk/>
            <pc:sldMk cId="1487440770" sldId="4491"/>
            <ac:spMk id="28" creationId="{23F588F5-3A1B-87E4-14E1-2BB3596CDEF6}"/>
          </ac:spMkLst>
        </pc:spChg>
        <pc:spChg chg="mod">
          <ac:chgData name="Guarda Madriaza, Andres" userId="524f1fec-b848-4aa4-ad30-b433d0ef7cfd" providerId="ADAL" clId="{5C30DD25-D2FB-4108-A8D6-7C9E8221D2F6}" dt="2025-05-07T17:09:35.774" v="2386"/>
          <ac:spMkLst>
            <pc:docMk/>
            <pc:sldMk cId="1487440770" sldId="4491"/>
            <ac:spMk id="65" creationId="{7E48156E-6A95-A64B-8520-CD11DA6C5EEF}"/>
          </ac:spMkLst>
        </pc:spChg>
        <pc:spChg chg="mod">
          <ac:chgData name="Guarda Madriaza, Andres" userId="524f1fec-b848-4aa4-ad30-b433d0ef7cfd" providerId="ADAL" clId="{5C30DD25-D2FB-4108-A8D6-7C9E8221D2F6}" dt="2025-05-07T17:09:35.774" v="2387"/>
          <ac:spMkLst>
            <pc:docMk/>
            <pc:sldMk cId="1487440770" sldId="4491"/>
            <ac:spMk id="67" creationId="{7E48156E-6A95-A64B-8520-CD11DA6C5EEF}"/>
          </ac:spMkLst>
        </pc:spChg>
        <pc:spChg chg="mod">
          <ac:chgData name="Guarda Madriaza, Andres" userId="524f1fec-b848-4aa4-ad30-b433d0ef7cfd" providerId="ADAL" clId="{5C30DD25-D2FB-4108-A8D6-7C9E8221D2F6}" dt="2025-05-07T17:09:35.774" v="2388"/>
          <ac:spMkLst>
            <pc:docMk/>
            <pc:sldMk cId="1487440770" sldId="4491"/>
            <ac:spMk id="68" creationId="{7E48156E-6A95-A64B-8520-CD11DA6C5EEF}"/>
          </ac:spMkLst>
        </pc:spChg>
        <pc:spChg chg="mod">
          <ac:chgData name="Guarda Madriaza, Andres" userId="524f1fec-b848-4aa4-ad30-b433d0ef7cfd" providerId="ADAL" clId="{5C30DD25-D2FB-4108-A8D6-7C9E8221D2F6}" dt="2025-05-07T17:09:35.774" v="2389"/>
          <ac:spMkLst>
            <pc:docMk/>
            <pc:sldMk cId="1487440770" sldId="4491"/>
            <ac:spMk id="69" creationId="{7E48156E-6A95-A64B-8520-CD11DA6C5EEF}"/>
          </ac:spMkLst>
        </pc:spChg>
        <pc:spChg chg="mod">
          <ac:chgData name="Guarda Madriaza, Andres" userId="524f1fec-b848-4aa4-ad30-b433d0ef7cfd" providerId="ADAL" clId="{5C30DD25-D2FB-4108-A8D6-7C9E8221D2F6}" dt="2025-05-07T17:09:35.779" v="2390"/>
          <ac:spMkLst>
            <pc:docMk/>
            <pc:sldMk cId="1487440770" sldId="4491"/>
            <ac:spMk id="70" creationId="{7E48156E-6A95-A64B-8520-CD11DA6C5EEF}"/>
          </ac:spMkLst>
        </pc:spChg>
        <pc:spChg chg="mod ord">
          <ac:chgData name="Guarda Madriaza, Andres" userId="524f1fec-b848-4aa4-ad30-b433d0ef7cfd" providerId="ADAL" clId="{5C30DD25-D2FB-4108-A8D6-7C9E8221D2F6}" dt="2025-05-07T17:10:37.149" v="2426" actId="20577"/>
          <ac:spMkLst>
            <pc:docMk/>
            <pc:sldMk cId="1487440770" sldId="4491"/>
            <ac:spMk id="73" creationId="{16197363-1139-32D2-8E00-C9717C1176F5}"/>
          </ac:spMkLst>
        </pc:spChg>
        <pc:spChg chg="mod">
          <ac:chgData name="Guarda Madriaza, Andres" userId="524f1fec-b848-4aa4-ad30-b433d0ef7cfd" providerId="ADAL" clId="{5C30DD25-D2FB-4108-A8D6-7C9E8221D2F6}" dt="2025-05-07T17:09:35.779" v="2397"/>
          <ac:spMkLst>
            <pc:docMk/>
            <pc:sldMk cId="1487440770" sldId="4491"/>
            <ac:spMk id="79" creationId="{7E48156E-6A95-A64B-8520-CD11DA6C5EEF}"/>
          </ac:spMkLst>
        </pc:spChg>
        <pc:spChg chg="mod">
          <ac:chgData name="Guarda Madriaza, Andres" userId="524f1fec-b848-4aa4-ad30-b433d0ef7cfd" providerId="ADAL" clId="{5C30DD25-D2FB-4108-A8D6-7C9E8221D2F6}" dt="2025-05-07T17:09:35.782" v="2398"/>
          <ac:spMkLst>
            <pc:docMk/>
            <pc:sldMk cId="1487440770" sldId="4491"/>
            <ac:spMk id="81" creationId="{7E48156E-6A95-A64B-8520-CD11DA6C5EEF}"/>
          </ac:spMkLst>
        </pc:spChg>
        <pc:spChg chg="mod">
          <ac:chgData name="Guarda Madriaza, Andres" userId="524f1fec-b848-4aa4-ad30-b433d0ef7cfd" providerId="ADAL" clId="{5C30DD25-D2FB-4108-A8D6-7C9E8221D2F6}" dt="2025-05-07T17:09:35.782" v="2399"/>
          <ac:spMkLst>
            <pc:docMk/>
            <pc:sldMk cId="1487440770" sldId="4491"/>
            <ac:spMk id="82" creationId="{7E48156E-6A95-A64B-8520-CD11DA6C5EEF}"/>
          </ac:spMkLst>
        </pc:spChg>
        <pc:spChg chg="mod">
          <ac:chgData name="Guarda Madriaza, Andres" userId="524f1fec-b848-4aa4-ad30-b433d0ef7cfd" providerId="ADAL" clId="{5C30DD25-D2FB-4108-A8D6-7C9E8221D2F6}" dt="2025-05-07T17:09:35.782" v="2400"/>
          <ac:spMkLst>
            <pc:docMk/>
            <pc:sldMk cId="1487440770" sldId="4491"/>
            <ac:spMk id="83" creationId="{7E48156E-6A95-A64B-8520-CD11DA6C5EEF}"/>
          </ac:spMkLst>
        </pc:spChg>
        <pc:spChg chg="mod">
          <ac:chgData name="Guarda Madriaza, Andres" userId="524f1fec-b848-4aa4-ad30-b433d0ef7cfd" providerId="ADAL" clId="{5C30DD25-D2FB-4108-A8D6-7C9E8221D2F6}" dt="2025-05-07T17:09:35.782" v="2401"/>
          <ac:spMkLst>
            <pc:docMk/>
            <pc:sldMk cId="1487440770" sldId="4491"/>
            <ac:spMk id="84" creationId="{7E48156E-6A95-A64B-8520-CD11DA6C5EEF}"/>
          </ac:spMkLst>
        </pc:spChg>
        <pc:graphicFrameChg chg="mod">
          <ac:chgData name="Guarda Madriaza, Andres" userId="524f1fec-b848-4aa4-ad30-b433d0ef7cfd" providerId="ADAL" clId="{5C30DD25-D2FB-4108-A8D6-7C9E8221D2F6}" dt="2025-05-07T17:09:35.789" v="2418"/>
          <ac:graphicFrameMkLst>
            <pc:docMk/>
            <pc:sldMk cId="1487440770" sldId="4491"/>
            <ac:graphicFrameMk id="7" creationId="{09519310-A3B5-0B0E-3D8D-BD12CB6BC32C}"/>
          </ac:graphicFrameMkLst>
        </pc:graphicFrameChg>
        <pc:graphicFrameChg chg="add mod ord">
          <ac:chgData name="Guarda Madriaza, Andres" userId="524f1fec-b848-4aa4-ad30-b433d0ef7cfd" providerId="ADAL" clId="{5C30DD25-D2FB-4108-A8D6-7C9E8221D2F6}" dt="2025-05-07T17:09:35.774" v="2385"/>
          <ac:graphicFrameMkLst>
            <pc:docMk/>
            <pc:sldMk cId="1487440770" sldId="4491"/>
            <ac:graphicFrameMk id="17" creationId="{98674341-8486-97D1-3E8A-B7C24A76E38D}"/>
          </ac:graphicFrameMkLst>
        </pc:graphicFrameChg>
        <pc:graphicFrameChg chg="mod ord">
          <ac:chgData name="Guarda Madriaza, Andres" userId="524f1fec-b848-4aa4-ad30-b433d0ef7cfd" providerId="ADAL" clId="{5C30DD25-D2FB-4108-A8D6-7C9E8221D2F6}" dt="2025-05-07T17:09:35.779" v="2396"/>
          <ac:graphicFrameMkLst>
            <pc:docMk/>
            <pc:sldMk cId="1487440770" sldId="4491"/>
            <ac:graphicFrameMk id="36" creationId="{20B7C3F6-32FD-4488-F995-EAD196C1D500}"/>
          </ac:graphicFrameMkLst>
        </pc:graphicFrameChg>
        <pc:picChg chg="mod ord">
          <ac:chgData name="Guarda Madriaza, Andres" userId="524f1fec-b848-4aa4-ad30-b433d0ef7cfd" providerId="ADAL" clId="{5C30DD25-D2FB-4108-A8D6-7C9E8221D2F6}" dt="2025-05-07T17:09:35.769" v="2372"/>
          <ac:picMkLst>
            <pc:docMk/>
            <pc:sldMk cId="1487440770" sldId="4491"/>
            <ac:picMk id="4" creationId="{D37E305E-516B-5628-C6B2-87C04A81DA4F}"/>
          </ac:picMkLst>
        </pc:picChg>
        <pc:picChg chg="mod ord">
          <ac:chgData name="Guarda Madriaza, Andres" userId="524f1fec-b848-4aa4-ad30-b433d0ef7cfd" providerId="ADAL" clId="{5C30DD25-D2FB-4108-A8D6-7C9E8221D2F6}" dt="2025-05-07T17:09:35.782" v="2405"/>
          <ac:picMkLst>
            <pc:docMk/>
            <pc:sldMk cId="1487440770" sldId="4491"/>
            <ac:picMk id="11" creationId="{24595E99-E83B-1D64-6DEF-99D0AF76A691}"/>
          </ac:picMkLst>
        </pc:picChg>
        <pc:picChg chg="mod ord">
          <ac:chgData name="Guarda Madriaza, Andres" userId="524f1fec-b848-4aa4-ad30-b433d0ef7cfd" providerId="ADAL" clId="{5C30DD25-D2FB-4108-A8D6-7C9E8221D2F6}" dt="2025-05-07T17:09:35.782" v="2409"/>
          <ac:picMkLst>
            <pc:docMk/>
            <pc:sldMk cId="1487440770" sldId="4491"/>
            <ac:picMk id="27" creationId="{CA61CBEA-B7AB-B572-49F6-AA2405A3C185}"/>
          </ac:picMkLst>
        </pc:picChg>
        <pc:picChg chg="mod ord">
          <ac:chgData name="Guarda Madriaza, Andres" userId="524f1fec-b848-4aa4-ad30-b433d0ef7cfd" providerId="ADAL" clId="{5C30DD25-D2FB-4108-A8D6-7C9E8221D2F6}" dt="2025-05-07T17:09:35.774" v="2376"/>
          <ac:picMkLst>
            <pc:docMk/>
            <pc:sldMk cId="1487440770" sldId="4491"/>
            <ac:picMk id="74" creationId="{F0E66704-FF7B-4255-C512-042341EC1501}"/>
          </ac:picMkLst>
        </pc:picChg>
        <pc:picChg chg="mod ord">
          <ac:chgData name="Guarda Madriaza, Andres" userId="524f1fec-b848-4aa4-ad30-b433d0ef7cfd" providerId="ADAL" clId="{5C30DD25-D2FB-4108-A8D6-7C9E8221D2F6}" dt="2025-05-07T17:09:35.774" v="2378"/>
          <ac:picMkLst>
            <pc:docMk/>
            <pc:sldMk cId="1487440770" sldId="4491"/>
            <ac:picMk id="75" creationId="{12DA33B0-2DF0-C92C-116C-600561AD050D}"/>
          </ac:picMkLst>
        </pc:picChg>
        <pc:picChg chg="mod ord">
          <ac:chgData name="Guarda Madriaza, Andres" userId="524f1fec-b848-4aa4-ad30-b433d0ef7cfd" providerId="ADAL" clId="{5C30DD25-D2FB-4108-A8D6-7C9E8221D2F6}" dt="2025-05-07T17:09:35.774" v="2380"/>
          <ac:picMkLst>
            <pc:docMk/>
            <pc:sldMk cId="1487440770" sldId="4491"/>
            <ac:picMk id="90" creationId="{26E2F729-8346-B707-9945-69C0E819685A}"/>
          </ac:picMkLst>
        </pc:picChg>
        <pc:picChg chg="mod ord">
          <ac:chgData name="Guarda Madriaza, Andres" userId="524f1fec-b848-4aa4-ad30-b433d0ef7cfd" providerId="ADAL" clId="{5C30DD25-D2FB-4108-A8D6-7C9E8221D2F6}" dt="2025-05-07T17:09:35.774" v="2382"/>
          <ac:picMkLst>
            <pc:docMk/>
            <pc:sldMk cId="1487440770" sldId="4491"/>
            <ac:picMk id="94" creationId="{A0D88AF8-6B32-A2C0-B1E7-D2ED47476318}"/>
          </ac:picMkLst>
        </pc:picChg>
      </pc:sldChg>
      <pc:sldChg chg="addSp delSp modSp mod">
        <pc:chgData name="Guarda Madriaza, Andres" userId="524f1fec-b848-4aa4-ad30-b433d0ef7cfd" providerId="ADAL" clId="{5C30DD25-D2FB-4108-A8D6-7C9E8221D2F6}" dt="2025-05-07T17:19:09.531" v="2848" actId="20577"/>
        <pc:sldMkLst>
          <pc:docMk/>
          <pc:sldMk cId="3588734151" sldId="4492"/>
        </pc:sldMkLst>
        <pc:spChg chg="mod ord">
          <ac:chgData name="Guarda Madriaza, Andres" userId="524f1fec-b848-4aa4-ad30-b433d0ef7cfd" providerId="ADAL" clId="{5C30DD25-D2FB-4108-A8D6-7C9E8221D2F6}" dt="2025-05-07T17:17:59.049" v="2836"/>
          <ac:spMkLst>
            <pc:docMk/>
            <pc:sldMk cId="3588734151" sldId="4492"/>
            <ac:spMk id="2" creationId="{D582C5A3-95A7-C0D3-A786-495E259F19F7}"/>
          </ac:spMkLst>
        </pc:spChg>
        <pc:spChg chg="mod ord">
          <ac:chgData name="Guarda Madriaza, Andres" userId="524f1fec-b848-4aa4-ad30-b433d0ef7cfd" providerId="ADAL" clId="{5C30DD25-D2FB-4108-A8D6-7C9E8221D2F6}" dt="2025-05-07T17:17:59.049" v="2834"/>
          <ac:spMkLst>
            <pc:docMk/>
            <pc:sldMk cId="3588734151" sldId="4492"/>
            <ac:spMk id="3" creationId="{3ECA1541-688F-B5E7-50D7-72919A285BA4}"/>
          </ac:spMkLst>
        </pc:spChg>
        <pc:spChg chg="mod">
          <ac:chgData name="Guarda Madriaza, Andres" userId="524f1fec-b848-4aa4-ad30-b433d0ef7cfd" providerId="ADAL" clId="{5C30DD25-D2FB-4108-A8D6-7C9E8221D2F6}" dt="2025-05-07T17:17:59.049" v="2823"/>
          <ac:spMkLst>
            <pc:docMk/>
            <pc:sldMk cId="3588734151" sldId="4492"/>
            <ac:spMk id="18" creationId="{1C9608CD-B63B-97F5-5CD7-110FE888B541}"/>
          </ac:spMkLst>
        </pc:spChg>
        <pc:spChg chg="mod">
          <ac:chgData name="Guarda Madriaza, Andres" userId="524f1fec-b848-4aa4-ad30-b433d0ef7cfd" providerId="ADAL" clId="{5C30DD25-D2FB-4108-A8D6-7C9E8221D2F6}" dt="2025-05-07T17:17:59.043" v="2804"/>
          <ac:spMkLst>
            <pc:docMk/>
            <pc:sldMk cId="3588734151" sldId="4492"/>
            <ac:spMk id="19" creationId="{6FB274BF-95B4-08E3-CB2A-D2202F6AE7E7}"/>
          </ac:spMkLst>
        </pc:spChg>
        <pc:spChg chg="mod">
          <ac:chgData name="Guarda Madriaza, Andres" userId="524f1fec-b848-4aa4-ad30-b433d0ef7cfd" providerId="ADAL" clId="{5C30DD25-D2FB-4108-A8D6-7C9E8221D2F6}" dt="2025-05-07T17:17:59.043" v="2805"/>
          <ac:spMkLst>
            <pc:docMk/>
            <pc:sldMk cId="3588734151" sldId="4492"/>
            <ac:spMk id="20" creationId="{576AB23E-2E28-E89A-2817-FE655EFD8D94}"/>
          </ac:spMkLst>
        </pc:spChg>
        <pc:spChg chg="mod ord">
          <ac:chgData name="Guarda Madriaza, Andres" userId="524f1fec-b848-4aa4-ad30-b433d0ef7cfd" providerId="ADAL" clId="{5C30DD25-D2FB-4108-A8D6-7C9E8221D2F6}" dt="2025-05-07T17:17:59.043" v="2807"/>
          <ac:spMkLst>
            <pc:docMk/>
            <pc:sldMk cId="3588734151" sldId="4492"/>
            <ac:spMk id="21" creationId="{1833C855-E43A-B583-8AFD-ED8D3A5DF379}"/>
          </ac:spMkLst>
        </pc:spChg>
        <pc:spChg chg="mod">
          <ac:chgData name="Guarda Madriaza, Andres" userId="524f1fec-b848-4aa4-ad30-b433d0ef7cfd" providerId="ADAL" clId="{5C30DD25-D2FB-4108-A8D6-7C9E8221D2F6}" dt="2025-05-07T17:17:59.043" v="2808"/>
          <ac:spMkLst>
            <pc:docMk/>
            <pc:sldMk cId="3588734151" sldId="4492"/>
            <ac:spMk id="22" creationId="{7E965BC1-D0E8-F348-D370-0927DE0C51A7}"/>
          </ac:spMkLst>
        </pc:spChg>
        <pc:spChg chg="mod">
          <ac:chgData name="Guarda Madriaza, Andres" userId="524f1fec-b848-4aa4-ad30-b433d0ef7cfd" providerId="ADAL" clId="{5C30DD25-D2FB-4108-A8D6-7C9E8221D2F6}" dt="2025-05-07T17:17:59.043" v="2811"/>
          <ac:spMkLst>
            <pc:docMk/>
            <pc:sldMk cId="3588734151" sldId="4492"/>
            <ac:spMk id="23" creationId="{328BE3A9-CCA5-3A57-83E6-CE390B3FFA2C}"/>
          </ac:spMkLst>
        </pc:spChg>
        <pc:spChg chg="mod ord">
          <ac:chgData name="Guarda Madriaza, Andres" userId="524f1fec-b848-4aa4-ad30-b433d0ef7cfd" providerId="ADAL" clId="{5C30DD25-D2FB-4108-A8D6-7C9E8221D2F6}" dt="2025-05-07T17:17:59.049" v="2813"/>
          <ac:spMkLst>
            <pc:docMk/>
            <pc:sldMk cId="3588734151" sldId="4492"/>
            <ac:spMk id="24" creationId="{48578A17-ED80-12C7-81D5-95C14AABDDD4}"/>
          </ac:spMkLst>
        </pc:spChg>
        <pc:spChg chg="mod">
          <ac:chgData name="Guarda Madriaza, Andres" userId="524f1fec-b848-4aa4-ad30-b433d0ef7cfd" providerId="ADAL" clId="{5C30DD25-D2FB-4108-A8D6-7C9E8221D2F6}" dt="2025-05-07T17:17:59.049" v="2814"/>
          <ac:spMkLst>
            <pc:docMk/>
            <pc:sldMk cId="3588734151" sldId="4492"/>
            <ac:spMk id="25" creationId="{9D3BED3E-A668-AACF-4176-AE7D63F5779D}"/>
          </ac:spMkLst>
        </pc:spChg>
        <pc:spChg chg="mod">
          <ac:chgData name="Guarda Madriaza, Andres" userId="524f1fec-b848-4aa4-ad30-b433d0ef7cfd" providerId="ADAL" clId="{5C30DD25-D2FB-4108-A8D6-7C9E8221D2F6}" dt="2025-05-07T17:17:59.049" v="2817"/>
          <ac:spMkLst>
            <pc:docMk/>
            <pc:sldMk cId="3588734151" sldId="4492"/>
            <ac:spMk id="26" creationId="{3731F9F4-3C79-40EF-3B12-4D9D9A4FA7DC}"/>
          </ac:spMkLst>
        </pc:spChg>
        <pc:spChg chg="mod">
          <ac:chgData name="Guarda Madriaza, Andres" userId="524f1fec-b848-4aa4-ad30-b433d0ef7cfd" providerId="ADAL" clId="{5C30DD25-D2FB-4108-A8D6-7C9E8221D2F6}" dt="2025-05-07T17:17:59.049" v="2818"/>
          <ac:spMkLst>
            <pc:docMk/>
            <pc:sldMk cId="3588734151" sldId="4492"/>
            <ac:spMk id="27" creationId="{CE5285EA-5A2E-56F6-7E55-E4C443E0A6CE}"/>
          </ac:spMkLst>
        </pc:spChg>
        <pc:spChg chg="add mod ord">
          <ac:chgData name="Guarda Madriaza, Andres" userId="524f1fec-b848-4aa4-ad30-b433d0ef7cfd" providerId="ADAL" clId="{5C30DD25-D2FB-4108-A8D6-7C9E8221D2F6}" dt="2025-05-07T17:17:59.039" v="2789"/>
          <ac:spMkLst>
            <pc:docMk/>
            <pc:sldMk cId="3588734151" sldId="4492"/>
            <ac:spMk id="31" creationId="{80DAC585-5804-BDCE-05C1-21B4B395CFF7}"/>
          </ac:spMkLst>
        </pc:spChg>
        <pc:spChg chg="add mod ord">
          <ac:chgData name="Guarda Madriaza, Andres" userId="524f1fec-b848-4aa4-ad30-b433d0ef7cfd" providerId="ADAL" clId="{5C30DD25-D2FB-4108-A8D6-7C9E8221D2F6}" dt="2025-05-07T17:17:59.039" v="2791"/>
          <ac:spMkLst>
            <pc:docMk/>
            <pc:sldMk cId="3588734151" sldId="4492"/>
            <ac:spMk id="33" creationId="{F5834C95-7D11-C720-922E-F8FC8A77355C}"/>
          </ac:spMkLst>
        </pc:spChg>
        <pc:spChg chg="mod">
          <ac:chgData name="Guarda Madriaza, Andres" userId="524f1fec-b848-4aa4-ad30-b433d0ef7cfd" providerId="ADAL" clId="{5C30DD25-D2FB-4108-A8D6-7C9E8221D2F6}" dt="2025-05-07T17:17:59.049" v="2824"/>
          <ac:spMkLst>
            <pc:docMk/>
            <pc:sldMk cId="3588734151" sldId="4492"/>
            <ac:spMk id="34" creationId="{4437F47D-DF4B-6736-BD79-86428FDFCBDA}"/>
          </ac:spMkLst>
        </pc:spChg>
        <pc:spChg chg="add mod ord">
          <ac:chgData name="Guarda Madriaza, Andres" userId="524f1fec-b848-4aa4-ad30-b433d0ef7cfd" providerId="ADAL" clId="{5C30DD25-D2FB-4108-A8D6-7C9E8221D2F6}" dt="2025-05-07T17:17:59.039" v="2785"/>
          <ac:spMkLst>
            <pc:docMk/>
            <pc:sldMk cId="3588734151" sldId="4492"/>
            <ac:spMk id="35" creationId="{4050DA6C-87A9-0F37-35B2-C7B7C1BD0E12}"/>
          </ac:spMkLst>
        </pc:spChg>
        <pc:spChg chg="add mod ord">
          <ac:chgData name="Guarda Madriaza, Andres" userId="524f1fec-b848-4aa4-ad30-b433d0ef7cfd" providerId="ADAL" clId="{5C30DD25-D2FB-4108-A8D6-7C9E8221D2F6}" dt="2025-05-07T17:17:59.039" v="2793"/>
          <ac:spMkLst>
            <pc:docMk/>
            <pc:sldMk cId="3588734151" sldId="4492"/>
            <ac:spMk id="36" creationId="{ABE1B98A-7550-5317-1256-491B6C10C5CD}"/>
          </ac:spMkLst>
        </pc:spChg>
        <pc:spChg chg="add mod ord">
          <ac:chgData name="Guarda Madriaza, Andres" userId="524f1fec-b848-4aa4-ad30-b433d0ef7cfd" providerId="ADAL" clId="{5C30DD25-D2FB-4108-A8D6-7C9E8221D2F6}" dt="2025-05-07T17:17:59.039" v="2795"/>
          <ac:spMkLst>
            <pc:docMk/>
            <pc:sldMk cId="3588734151" sldId="4492"/>
            <ac:spMk id="37" creationId="{25B301C3-E68D-1525-97D2-BBBDC1850232}"/>
          </ac:spMkLst>
        </pc:spChg>
        <pc:spChg chg="mod ord">
          <ac:chgData name="Guarda Madriaza, Andres" userId="524f1fec-b848-4aa4-ad30-b433d0ef7cfd" providerId="ADAL" clId="{5C30DD25-D2FB-4108-A8D6-7C9E8221D2F6}" dt="2025-05-07T17:17:59.030" v="2765"/>
          <ac:spMkLst>
            <pc:docMk/>
            <pc:sldMk cId="3588734151" sldId="4492"/>
            <ac:spMk id="38" creationId="{5888C14E-C847-3D89-E700-B72718512160}"/>
          </ac:spMkLst>
        </pc:spChg>
        <pc:spChg chg="mod ord">
          <ac:chgData name="Guarda Madriaza, Andres" userId="524f1fec-b848-4aa4-ad30-b433d0ef7cfd" providerId="ADAL" clId="{5C30DD25-D2FB-4108-A8D6-7C9E8221D2F6}" dt="2025-05-07T17:17:59.049" v="2826"/>
          <ac:spMkLst>
            <pc:docMk/>
            <pc:sldMk cId="3588734151" sldId="4492"/>
            <ac:spMk id="39" creationId="{C5C632ED-F0C9-5F91-6E50-42894B45EE59}"/>
          </ac:spMkLst>
        </pc:spChg>
        <pc:spChg chg="mod ord">
          <ac:chgData name="Guarda Madriaza, Andres" userId="524f1fec-b848-4aa4-ad30-b433d0ef7cfd" providerId="ADAL" clId="{5C30DD25-D2FB-4108-A8D6-7C9E8221D2F6}" dt="2025-05-07T17:17:59.049" v="2828"/>
          <ac:spMkLst>
            <pc:docMk/>
            <pc:sldMk cId="3588734151" sldId="4492"/>
            <ac:spMk id="40" creationId="{5CD10536-702D-8D36-2990-900D938B40F7}"/>
          </ac:spMkLst>
        </pc:spChg>
        <pc:spChg chg="mod ord">
          <ac:chgData name="Guarda Madriaza, Andres" userId="524f1fec-b848-4aa4-ad30-b433d0ef7cfd" providerId="ADAL" clId="{5C30DD25-D2FB-4108-A8D6-7C9E8221D2F6}" dt="2025-05-07T17:17:59.049" v="2816"/>
          <ac:spMkLst>
            <pc:docMk/>
            <pc:sldMk cId="3588734151" sldId="4492"/>
            <ac:spMk id="41" creationId="{7E48156E-6A95-A64B-8520-CD11DA6C5EEF}"/>
          </ac:spMkLst>
        </pc:spChg>
        <pc:spChg chg="add mod ord">
          <ac:chgData name="Guarda Madriaza, Andres" userId="524f1fec-b848-4aa4-ad30-b433d0ef7cfd" providerId="ADAL" clId="{5C30DD25-D2FB-4108-A8D6-7C9E8221D2F6}" dt="2025-05-07T17:17:59.039" v="2787"/>
          <ac:spMkLst>
            <pc:docMk/>
            <pc:sldMk cId="3588734151" sldId="4492"/>
            <ac:spMk id="42" creationId="{F41A54EF-2FD9-1CEC-387D-65FE01611FE8}"/>
          </ac:spMkLst>
        </pc:spChg>
        <pc:spChg chg="mod ord">
          <ac:chgData name="Guarda Madriaza, Andres" userId="524f1fec-b848-4aa4-ad30-b433d0ef7cfd" providerId="ADAL" clId="{5C30DD25-D2FB-4108-A8D6-7C9E8221D2F6}" dt="2025-05-07T17:17:59.049" v="2830"/>
          <ac:spMkLst>
            <pc:docMk/>
            <pc:sldMk cId="3588734151" sldId="4492"/>
            <ac:spMk id="44" creationId="{1B7B0060-1FD7-E355-E75A-929F86A31B7E}"/>
          </ac:spMkLst>
        </pc:spChg>
        <pc:spChg chg="add mod">
          <ac:chgData name="Guarda Madriaza, Andres" userId="524f1fec-b848-4aa4-ad30-b433d0ef7cfd" providerId="ADAL" clId="{5C30DD25-D2FB-4108-A8D6-7C9E8221D2F6}" dt="2025-05-07T17:17:59.049" v="2821"/>
          <ac:spMkLst>
            <pc:docMk/>
            <pc:sldMk cId="3588734151" sldId="4492"/>
            <ac:spMk id="45" creationId="{7E48156E-6A95-A64B-8520-CD11DA6C5EEF}"/>
          </ac:spMkLst>
        </pc:spChg>
        <pc:spChg chg="add mod">
          <ac:chgData name="Guarda Madriaza, Andres" userId="524f1fec-b848-4aa4-ad30-b433d0ef7cfd" providerId="ADAL" clId="{5C30DD25-D2FB-4108-A8D6-7C9E8221D2F6}" dt="2025-05-07T17:17:59.049" v="2822"/>
          <ac:spMkLst>
            <pc:docMk/>
            <pc:sldMk cId="3588734151" sldId="4492"/>
            <ac:spMk id="46" creationId="{7E48156E-6A95-A64B-8520-CD11DA6C5EEF}"/>
          </ac:spMkLst>
        </pc:spChg>
        <pc:spChg chg="mod ord">
          <ac:chgData name="Guarda Madriaza, Andres" userId="524f1fec-b848-4aa4-ad30-b433d0ef7cfd" providerId="ADAL" clId="{5C30DD25-D2FB-4108-A8D6-7C9E8221D2F6}" dt="2025-05-07T17:19:09.531" v="2848" actId="20577"/>
          <ac:spMkLst>
            <pc:docMk/>
            <pc:sldMk cId="3588734151" sldId="4492"/>
            <ac:spMk id="48" creationId="{F7E27F8D-9E9F-34FC-FAED-6DEC59F7549F}"/>
          </ac:spMkLst>
        </pc:spChg>
        <pc:spChg chg="mod ord">
          <ac:chgData name="Guarda Madriaza, Andres" userId="524f1fec-b848-4aa4-ad30-b433d0ef7cfd" providerId="ADAL" clId="{5C30DD25-D2FB-4108-A8D6-7C9E8221D2F6}" dt="2025-05-07T17:17:59.043" v="2810"/>
          <ac:spMkLst>
            <pc:docMk/>
            <pc:sldMk cId="3588734151" sldId="4492"/>
            <ac:spMk id="54" creationId="{7E48156E-6A95-A64B-8520-CD11DA6C5EEF}"/>
          </ac:spMkLst>
        </pc:spChg>
        <pc:spChg chg="mod ord">
          <ac:chgData name="Guarda Madriaza, Andres" userId="524f1fec-b848-4aa4-ad30-b433d0ef7cfd" providerId="ADAL" clId="{5C30DD25-D2FB-4108-A8D6-7C9E8221D2F6}" dt="2025-05-07T17:17:59.030" v="2781"/>
          <ac:spMkLst>
            <pc:docMk/>
            <pc:sldMk cId="3588734151" sldId="4492"/>
            <ac:spMk id="55" creationId="{619D340A-A5BA-4DF7-63CF-5AEE6F7C42F6}"/>
          </ac:spMkLst>
        </pc:spChg>
        <pc:spChg chg="mod">
          <ac:chgData name="Guarda Madriaza, Andres" userId="524f1fec-b848-4aa4-ad30-b433d0ef7cfd" providerId="ADAL" clId="{5C30DD25-D2FB-4108-A8D6-7C9E8221D2F6}" dt="2025-05-07T17:17:59.049" v="2819"/>
          <ac:spMkLst>
            <pc:docMk/>
            <pc:sldMk cId="3588734151" sldId="4492"/>
            <ac:spMk id="63" creationId="{7E48156E-6A95-A64B-8520-CD11DA6C5EEF}"/>
          </ac:spMkLst>
        </pc:spChg>
        <pc:spChg chg="mod">
          <ac:chgData name="Guarda Madriaza, Andres" userId="524f1fec-b848-4aa4-ad30-b433d0ef7cfd" providerId="ADAL" clId="{5C30DD25-D2FB-4108-A8D6-7C9E8221D2F6}" dt="2025-05-07T17:17:59.049" v="2820"/>
          <ac:spMkLst>
            <pc:docMk/>
            <pc:sldMk cId="3588734151" sldId="4492"/>
            <ac:spMk id="65" creationId="{7E48156E-6A95-A64B-8520-CD11DA6C5EEF}"/>
          </ac:spMkLst>
        </pc:spChg>
        <pc:graphicFrameChg chg="mod">
          <ac:chgData name="Guarda Madriaza, Andres" userId="524f1fec-b848-4aa4-ad30-b433d0ef7cfd" providerId="ADAL" clId="{5C30DD25-D2FB-4108-A8D6-7C9E8221D2F6}" dt="2025-05-07T17:17:59.049" v="2840"/>
          <ac:graphicFrameMkLst>
            <pc:docMk/>
            <pc:sldMk cId="3588734151" sldId="4492"/>
            <ac:graphicFrameMk id="7" creationId="{FC72A999-046F-48D0-9C93-361ADD5CEE45}"/>
          </ac:graphicFrameMkLst>
        </pc:graphicFrameChg>
        <pc:graphicFrameChg chg="add mod ord">
          <ac:chgData name="Guarda Madriaza, Andres" userId="524f1fec-b848-4aa4-ad30-b433d0ef7cfd" providerId="ADAL" clId="{5C30DD25-D2FB-4108-A8D6-7C9E8221D2F6}" dt="2025-05-07T17:17:59.030" v="2783"/>
          <ac:graphicFrameMkLst>
            <pc:docMk/>
            <pc:sldMk cId="3588734151" sldId="4492"/>
            <ac:graphicFrameMk id="47" creationId="{AB29ECC0-1E9C-1F5B-3475-277A826C3903}"/>
          </ac:graphicFrameMkLst>
        </pc:graphicFrameChg>
        <pc:cxnChg chg="mod ord">
          <ac:chgData name="Guarda Madriaza, Andres" userId="524f1fec-b848-4aa4-ad30-b433d0ef7cfd" providerId="ADAL" clId="{5C30DD25-D2FB-4108-A8D6-7C9E8221D2F6}" dt="2025-05-07T17:17:59.030" v="2767"/>
          <ac:cxnSpMkLst>
            <pc:docMk/>
            <pc:sldMk cId="3588734151" sldId="4492"/>
            <ac:cxnSpMk id="4" creationId="{417F008D-F280-0036-21A0-5C8A3B95DD8C}"/>
          </ac:cxnSpMkLst>
        </pc:cxnChg>
        <pc:cxnChg chg="mod ord">
          <ac:chgData name="Guarda Madriaza, Andres" userId="524f1fec-b848-4aa4-ad30-b433d0ef7cfd" providerId="ADAL" clId="{5C30DD25-D2FB-4108-A8D6-7C9E8221D2F6}" dt="2025-05-07T17:17:59.030" v="2775"/>
          <ac:cxnSpMkLst>
            <pc:docMk/>
            <pc:sldMk cId="3588734151" sldId="4492"/>
            <ac:cxnSpMk id="5" creationId="{231FD766-2D94-82C5-0FB2-80E0CFADB14D}"/>
          </ac:cxnSpMkLst>
        </pc:cxnChg>
        <pc:cxnChg chg="mod ord">
          <ac:chgData name="Guarda Madriaza, Andres" userId="524f1fec-b848-4aa4-ad30-b433d0ef7cfd" providerId="ADAL" clId="{5C30DD25-D2FB-4108-A8D6-7C9E8221D2F6}" dt="2025-05-07T17:17:59.030" v="2773"/>
          <ac:cxnSpMkLst>
            <pc:docMk/>
            <pc:sldMk cId="3588734151" sldId="4492"/>
            <ac:cxnSpMk id="6" creationId="{463F4CCC-CAA0-E3A4-630D-DC54D92DFED2}"/>
          </ac:cxnSpMkLst>
        </pc:cxnChg>
        <pc:cxnChg chg="mod ord">
          <ac:chgData name="Guarda Madriaza, Andres" userId="524f1fec-b848-4aa4-ad30-b433d0ef7cfd" providerId="ADAL" clId="{5C30DD25-D2FB-4108-A8D6-7C9E8221D2F6}" dt="2025-05-07T17:17:59.030" v="2771"/>
          <ac:cxnSpMkLst>
            <pc:docMk/>
            <pc:sldMk cId="3588734151" sldId="4492"/>
            <ac:cxnSpMk id="8" creationId="{89753DCC-F744-98D8-8D90-B999AC9EE64F}"/>
          </ac:cxnSpMkLst>
        </pc:cxnChg>
        <pc:cxnChg chg="mod ord">
          <ac:chgData name="Guarda Madriaza, Andres" userId="524f1fec-b848-4aa4-ad30-b433d0ef7cfd" providerId="ADAL" clId="{5C30DD25-D2FB-4108-A8D6-7C9E8221D2F6}" dt="2025-05-07T17:17:59.030" v="2769"/>
          <ac:cxnSpMkLst>
            <pc:docMk/>
            <pc:sldMk cId="3588734151" sldId="4492"/>
            <ac:cxnSpMk id="9" creationId="{CD832CF7-1EC7-23F9-947B-8D31604EEC84}"/>
          </ac:cxnSpMkLst>
        </pc:cxnChg>
        <pc:cxnChg chg="mod ord">
          <ac:chgData name="Guarda Madriaza, Andres" userId="524f1fec-b848-4aa4-ad30-b433d0ef7cfd" providerId="ADAL" clId="{5C30DD25-D2FB-4108-A8D6-7C9E8221D2F6}" dt="2025-05-07T17:17:59.030" v="2779"/>
          <ac:cxnSpMkLst>
            <pc:docMk/>
            <pc:sldMk cId="3588734151" sldId="4492"/>
            <ac:cxnSpMk id="10" creationId="{51A60A02-D179-99E9-7C14-483DD737EDF1}"/>
          </ac:cxnSpMkLst>
        </pc:cxnChg>
        <pc:cxnChg chg="mod ord">
          <ac:chgData name="Guarda Madriaza, Andres" userId="524f1fec-b848-4aa4-ad30-b433d0ef7cfd" providerId="ADAL" clId="{5C30DD25-D2FB-4108-A8D6-7C9E8221D2F6}" dt="2025-05-07T17:17:59.030" v="2777"/>
          <ac:cxnSpMkLst>
            <pc:docMk/>
            <pc:sldMk cId="3588734151" sldId="4492"/>
            <ac:cxnSpMk id="11" creationId="{7B514076-6C32-89CA-38F7-5F6AE26E348F}"/>
          </ac:cxnSpMkLst>
        </pc:cxnChg>
        <pc:cxnChg chg="mod ord">
          <ac:chgData name="Guarda Madriaza, Andres" userId="524f1fec-b848-4aa4-ad30-b433d0ef7cfd" providerId="ADAL" clId="{5C30DD25-D2FB-4108-A8D6-7C9E8221D2F6}" dt="2025-05-07T17:17:59.043" v="2803"/>
          <ac:cxnSpMkLst>
            <pc:docMk/>
            <pc:sldMk cId="3588734151" sldId="4492"/>
            <ac:cxnSpMk id="15" creationId="{19A9279C-F005-7E6C-4445-3B37E91A2F67}"/>
          </ac:cxnSpMkLst>
        </pc:cxnChg>
        <pc:cxnChg chg="mod ord">
          <ac:chgData name="Guarda Madriaza, Andres" userId="524f1fec-b848-4aa4-ad30-b433d0ef7cfd" providerId="ADAL" clId="{5C30DD25-D2FB-4108-A8D6-7C9E8221D2F6}" dt="2025-05-07T17:17:59.043" v="2801"/>
          <ac:cxnSpMkLst>
            <pc:docMk/>
            <pc:sldMk cId="3588734151" sldId="4492"/>
            <ac:cxnSpMk id="16" creationId="{A97EF869-80A5-97B1-14D9-05CF82129913}"/>
          </ac:cxnSpMkLst>
        </pc:cxnChg>
        <pc:cxnChg chg="mod ord">
          <ac:chgData name="Guarda Madriaza, Andres" userId="524f1fec-b848-4aa4-ad30-b433d0ef7cfd" providerId="ADAL" clId="{5C30DD25-D2FB-4108-A8D6-7C9E8221D2F6}" dt="2025-05-07T17:17:59.043" v="2797"/>
          <ac:cxnSpMkLst>
            <pc:docMk/>
            <pc:sldMk cId="3588734151" sldId="4492"/>
            <ac:cxnSpMk id="17" creationId="{21884691-9A81-ABA6-77EE-D4BBD3BA8F68}"/>
          </ac:cxnSpMkLst>
        </pc:cxnChg>
        <pc:cxnChg chg="mod ord">
          <ac:chgData name="Guarda Madriaza, Andres" userId="524f1fec-b848-4aa4-ad30-b433d0ef7cfd" providerId="ADAL" clId="{5C30DD25-D2FB-4108-A8D6-7C9E8221D2F6}" dt="2025-05-07T17:17:59.043" v="2799"/>
          <ac:cxnSpMkLst>
            <pc:docMk/>
            <pc:sldMk cId="3588734151" sldId="4492"/>
            <ac:cxnSpMk id="32" creationId="{1CBFF966-AB86-838E-07DF-ADF45F217682}"/>
          </ac:cxnSpMkLst>
        </pc:cxnChg>
      </pc:sldChg>
      <pc:sldChg chg="modSp mod">
        <pc:chgData name="Guarda Madriaza, Andres" userId="524f1fec-b848-4aa4-ad30-b433d0ef7cfd" providerId="ADAL" clId="{5C30DD25-D2FB-4108-A8D6-7C9E8221D2F6}" dt="2025-05-07T17:22:01.230" v="2868" actId="20577"/>
        <pc:sldMkLst>
          <pc:docMk/>
          <pc:sldMk cId="3666714324" sldId="4493"/>
        </pc:sldMkLst>
        <pc:spChg chg="mod">
          <ac:chgData name="Guarda Madriaza, Andres" userId="524f1fec-b848-4aa4-ad30-b433d0ef7cfd" providerId="ADAL" clId="{5C30DD25-D2FB-4108-A8D6-7C9E8221D2F6}" dt="2025-05-07T17:22:01.230" v="2868" actId="20577"/>
          <ac:spMkLst>
            <pc:docMk/>
            <pc:sldMk cId="3666714324" sldId="4493"/>
            <ac:spMk id="38" creationId="{75839018-1F4E-9B38-1F4E-7928DA094DC4}"/>
          </ac:spMkLst>
        </pc:spChg>
        <pc:graphicFrameChg chg="modGraphic">
          <ac:chgData name="Guarda Madriaza, Andres" userId="524f1fec-b848-4aa4-ad30-b433d0ef7cfd" providerId="ADAL" clId="{5C30DD25-D2FB-4108-A8D6-7C9E8221D2F6}" dt="2025-05-07T17:19:46.661" v="2861" actId="20577"/>
          <ac:graphicFrameMkLst>
            <pc:docMk/>
            <pc:sldMk cId="3666714324" sldId="4493"/>
            <ac:graphicFrameMk id="4" creationId="{AEC5350F-5B31-EF62-689B-6681B5188C65}"/>
          </ac:graphicFrameMkLst>
        </pc:graphicFrameChg>
      </pc:sldChg>
      <pc:sldChg chg="modSp mod">
        <pc:chgData name="Guarda Madriaza, Andres" userId="524f1fec-b848-4aa4-ad30-b433d0ef7cfd" providerId="ADAL" clId="{5C30DD25-D2FB-4108-A8D6-7C9E8221D2F6}" dt="2025-05-07T16:58:29.713" v="675" actId="1035"/>
        <pc:sldMkLst>
          <pc:docMk/>
          <pc:sldMk cId="1800967396" sldId="4494"/>
        </pc:sldMkLst>
        <pc:grpChg chg="mod">
          <ac:chgData name="Guarda Madriaza, Andres" userId="524f1fec-b848-4aa4-ad30-b433d0ef7cfd" providerId="ADAL" clId="{5C30DD25-D2FB-4108-A8D6-7C9E8221D2F6}" dt="2025-05-07T16:58:25.376" v="668" actId="1035"/>
          <ac:grpSpMkLst>
            <pc:docMk/>
            <pc:sldMk cId="1800967396" sldId="4494"/>
            <ac:grpSpMk id="21" creationId="{AFEB8D57-903F-3212-C886-CDCEF5835EEC}"/>
          </ac:grpSpMkLst>
        </pc:grpChg>
        <pc:grpChg chg="mod">
          <ac:chgData name="Guarda Madriaza, Andres" userId="524f1fec-b848-4aa4-ad30-b433d0ef7cfd" providerId="ADAL" clId="{5C30DD25-D2FB-4108-A8D6-7C9E8221D2F6}" dt="2025-05-07T16:58:29.713" v="675" actId="1035"/>
          <ac:grpSpMkLst>
            <pc:docMk/>
            <pc:sldMk cId="1800967396" sldId="4494"/>
            <ac:grpSpMk id="24" creationId="{B393389E-CB52-67A2-D4A2-9D055634D2B5}"/>
          </ac:grpSpMkLst>
        </pc:grpChg>
      </pc:sldChg>
      <pc:sldChg chg="modSp mod">
        <pc:chgData name="Guarda Madriaza, Andres" userId="524f1fec-b848-4aa4-ad30-b433d0ef7cfd" providerId="ADAL" clId="{5C30DD25-D2FB-4108-A8D6-7C9E8221D2F6}" dt="2025-05-07T17:33:42.833" v="2872" actId="947"/>
        <pc:sldMkLst>
          <pc:docMk/>
          <pc:sldMk cId="55702016" sldId="4495"/>
        </pc:sldMkLst>
        <pc:spChg chg="mod">
          <ac:chgData name="Guarda Madriaza, Andres" userId="524f1fec-b848-4aa4-ad30-b433d0ef7cfd" providerId="ADAL" clId="{5C30DD25-D2FB-4108-A8D6-7C9E8221D2F6}" dt="2025-05-07T17:33:42.833" v="2872" actId="947"/>
          <ac:spMkLst>
            <pc:docMk/>
            <pc:sldMk cId="55702016" sldId="4495"/>
            <ac:spMk id="29" creationId="{3FA406D3-E623-7A56-F8CE-AF7B79BAE6AF}"/>
          </ac:spMkLst>
        </pc:spChg>
      </pc:sldChg>
      <pc:sldChg chg="modSp add mod">
        <pc:chgData name="Guarda Madriaza, Andres" userId="524f1fec-b848-4aa4-ad30-b433d0ef7cfd" providerId="ADAL" clId="{5C30DD25-D2FB-4108-A8D6-7C9E8221D2F6}" dt="2025-05-07T17:36:58.070" v="2942" actId="20577"/>
        <pc:sldMkLst>
          <pc:docMk/>
          <pc:sldMk cId="2206462364" sldId="4496"/>
        </pc:sldMkLst>
        <pc:spChg chg="mod">
          <ac:chgData name="Guarda Madriaza, Andres" userId="524f1fec-b848-4aa4-ad30-b433d0ef7cfd" providerId="ADAL" clId="{5C30DD25-D2FB-4108-A8D6-7C9E8221D2F6}" dt="2025-05-07T17:36:30.966" v="2916" actId="20577"/>
          <ac:spMkLst>
            <pc:docMk/>
            <pc:sldMk cId="2206462364" sldId="4496"/>
            <ac:spMk id="3" creationId="{81593475-81AA-3F2C-4F5B-1F99B21BE5B1}"/>
          </ac:spMkLst>
        </pc:spChg>
        <pc:spChg chg="mod">
          <ac:chgData name="Guarda Madriaza, Andres" userId="524f1fec-b848-4aa4-ad30-b433d0ef7cfd" providerId="ADAL" clId="{5C30DD25-D2FB-4108-A8D6-7C9E8221D2F6}" dt="2025-05-07T17:36:58.070" v="2942" actId="20577"/>
          <ac:spMkLst>
            <pc:docMk/>
            <pc:sldMk cId="2206462364" sldId="4496"/>
            <ac:spMk id="4" creationId="{6398C847-3F5C-D384-E31F-3229480E7942}"/>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cnco.sharepoint.com/sites/InvestorRelationsCencosud/Documentos%20compartidos/General/Investor%20Relations%20Cencosud%20-%20Documentos/Cenco%20Malls/Press%20&amp;%20PPT's%20Trimestrales/2025/1Q%20CSSA/Archivos%20Base%20&amp;%20An&#225;lisis/Tablas%20Press%20Release" TargetMode="Externa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015706806282723E-2"/>
          <c:y val="5.9496567505720827E-2"/>
          <c:w val="0.96596858638743455"/>
          <c:h val="0.8810068649885584"/>
        </c:manualLayout>
      </c:layout>
      <c:barChart>
        <c:barDir val="col"/>
        <c:grouping val="stacked"/>
        <c:varyColors val="0"/>
        <c:ser>
          <c:idx val="0"/>
          <c:order val="0"/>
          <c:spPr>
            <a:solidFill>
              <a:schemeClr val="accent1"/>
            </a:solidFill>
            <a:ln w="9525" cmpd="sng" algn="ctr">
              <a:solidFill>
                <a:schemeClr val="tx1"/>
              </a:solidFill>
              <a:prstDash val="solid"/>
            </a:ln>
          </c:spPr>
          <c:invertIfNegative val="0"/>
          <c:dPt>
            <c:idx val="1"/>
            <c:invertIfNegative val="0"/>
            <c:bubble3D val="0"/>
            <c:spPr>
              <a:solidFill>
                <a:schemeClr val="accent2"/>
              </a:solidFill>
              <a:ln w="9525" cmpd="sng" algn="ctr">
                <a:solidFill>
                  <a:schemeClr val="tx1"/>
                </a:solidFill>
                <a:prstDash val="solid"/>
              </a:ln>
            </c:spPr>
            <c:extLst>
              <c:ext xmlns:c16="http://schemas.microsoft.com/office/drawing/2014/chart" uri="{C3380CC4-5D6E-409C-BE32-E72D297353CC}">
                <c16:uniqueId val="{00000000-CC8E-4867-A581-FAABF963A4AB}"/>
              </c:ext>
            </c:extLst>
          </c:dPt>
          <c:dPt>
            <c:idx val="3"/>
            <c:invertIfNegative val="0"/>
            <c:bubble3D val="0"/>
            <c:spPr>
              <a:solidFill>
                <a:schemeClr val="accent2"/>
              </a:solidFill>
              <a:ln w="9525" cmpd="sng" algn="ctr">
                <a:solidFill>
                  <a:schemeClr val="tx1"/>
                </a:solidFill>
                <a:prstDash val="solid"/>
              </a:ln>
            </c:spPr>
            <c:extLst>
              <c:ext xmlns:c16="http://schemas.microsoft.com/office/drawing/2014/chart" uri="{C3380CC4-5D6E-409C-BE32-E72D297353CC}">
                <c16:uniqueId val="{00000001-CC8E-4867-A581-FAABF963A4AB}"/>
              </c:ext>
            </c:extLst>
          </c:dPt>
          <c:val>
            <c:numRef>
              <c:f>Sheet1!$A$1:$D$1</c:f>
              <c:numCache>
                <c:formatCode>General</c:formatCode>
                <c:ptCount val="4"/>
                <c:pt idx="0">
                  <c:v>82016.235000000015</c:v>
                </c:pt>
                <c:pt idx="1">
                  <c:v>90273.100999999995</c:v>
                </c:pt>
                <c:pt idx="2">
                  <c:v>82016.235000000015</c:v>
                </c:pt>
                <c:pt idx="3">
                  <c:v>90273.100999999995</c:v>
                </c:pt>
              </c:numCache>
            </c:numRef>
          </c:val>
          <c:extLst>
            <c:ext xmlns:c16="http://schemas.microsoft.com/office/drawing/2014/chart" uri="{C3380CC4-5D6E-409C-BE32-E72D297353CC}">
              <c16:uniqueId val="{00000002-CC8E-4867-A581-FAABF963A4AB}"/>
            </c:ext>
          </c:extLst>
        </c:ser>
        <c:dLbls>
          <c:showLegendKey val="0"/>
          <c:showVal val="0"/>
          <c:showCatName val="0"/>
          <c:showSerName val="0"/>
          <c:showPercent val="0"/>
          <c:showBubbleSize val="0"/>
        </c:dLbls>
        <c:gapWidth val="50"/>
        <c:overlap val="100"/>
        <c:axId val="344912416"/>
        <c:axId val="1"/>
      </c:barChart>
      <c:catAx>
        <c:axId val="3449124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273.100999999995"/>
          <c:min val="0"/>
        </c:scaling>
        <c:delete val="1"/>
        <c:axPos val="l"/>
        <c:numFmt formatCode="General" sourceLinked="1"/>
        <c:majorTickMark val="out"/>
        <c:minorTickMark val="none"/>
        <c:tickLblPos val="nextTo"/>
        <c:crossAx val="344912416"/>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145802650957292E-2"/>
          <c:y val="0.22450657894736842"/>
          <c:w val="0.96170839469808544"/>
          <c:h val="0.61677631578947367"/>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0-6380-4492-86DE-248D25DCEE8A}"/>
              </c:ext>
            </c:extLst>
          </c:dPt>
          <c:dPt>
            <c:idx val="2"/>
            <c:invertIfNegative val="0"/>
            <c:bubble3D val="0"/>
            <c:spPr>
              <a:solidFill>
                <a:schemeClr val="accent3"/>
              </a:solidFill>
              <a:ln>
                <a:noFill/>
              </a:ln>
            </c:spPr>
            <c:extLst>
              <c:ext xmlns:c16="http://schemas.microsoft.com/office/drawing/2014/chart" uri="{C3380CC4-5D6E-409C-BE32-E72D297353CC}">
                <c16:uniqueId val="{00000001-6380-4492-86DE-248D25DCEE8A}"/>
              </c:ext>
            </c:extLst>
          </c:dPt>
          <c:dLbls>
            <c:dLbl>
              <c:idx val="0"/>
              <c:layout>
                <c:manualLayout>
                  <c:x val="0"/>
                  <c:y val="-0.3741776315789473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s-C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380-4492-86DE-248D25DCEE8A}"/>
                </c:ext>
              </c:extLst>
            </c:dLbl>
            <c:dLbl>
              <c:idx val="1"/>
              <c:layout>
                <c:manualLayout>
                  <c:x val="0"/>
                  <c:y val="-0.2014802631578947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s-C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380-4492-86DE-248D25DCEE8A}"/>
                </c:ext>
              </c:extLst>
            </c:dLbl>
            <c:dLbl>
              <c:idx val="2"/>
              <c:layout>
                <c:manualLayout>
                  <c:x val="0"/>
                  <c:y val="-0.3741776315789473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s-C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380-4492-86DE-248D25DCEE8A}"/>
                </c:ext>
              </c:extLst>
            </c:dLbl>
            <c:dLbl>
              <c:idx val="3"/>
              <c:layout>
                <c:manualLayout>
                  <c:x val="0"/>
                  <c:y val="-0.2014802631578947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s-C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380-4492-86DE-248D25DCEE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26.57100000000003</c:v>
                </c:pt>
                <c:pt idx="1">
                  <c:v>318.67099999999999</c:v>
                </c:pt>
                <c:pt idx="2">
                  <c:v>726.57100000000003</c:v>
                </c:pt>
                <c:pt idx="3">
                  <c:v>318.67099999999999</c:v>
                </c:pt>
              </c:numCache>
            </c:numRef>
          </c:val>
          <c:extLst>
            <c:ext xmlns:c16="http://schemas.microsoft.com/office/drawing/2014/chart" uri="{C3380CC4-5D6E-409C-BE32-E72D297353CC}">
              <c16:uniqueId val="{00000004-6380-4492-86DE-248D25DCEE8A}"/>
            </c:ext>
          </c:extLst>
        </c:ser>
        <c:dLbls>
          <c:showLegendKey val="0"/>
          <c:showVal val="0"/>
          <c:showCatName val="0"/>
          <c:showSerName val="0"/>
          <c:showPercent val="0"/>
          <c:showBubbleSize val="0"/>
        </c:dLbls>
        <c:gapWidth val="80"/>
        <c:overlap val="100"/>
        <c:axId val="1758393344"/>
        <c:axId val="1"/>
      </c:barChart>
      <c:catAx>
        <c:axId val="17583933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26.57100000000003"/>
          <c:min val="0"/>
        </c:scaling>
        <c:delete val="1"/>
        <c:axPos val="l"/>
        <c:numFmt formatCode="General" sourceLinked="1"/>
        <c:majorTickMark val="out"/>
        <c:minorTickMark val="none"/>
        <c:tickLblPos val="nextTo"/>
        <c:crossAx val="1758393344"/>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9603011635866E-2"/>
          <c:y val="3.439153439153439E-2"/>
          <c:w val="0.96440793976728267"/>
          <c:h val="0.92791005291005291"/>
        </c:manualLayout>
      </c:layout>
      <c:barChart>
        <c:barDir val="col"/>
        <c:grouping val="clustered"/>
        <c:varyColors val="0"/>
        <c:ser>
          <c:idx val="0"/>
          <c:order val="0"/>
          <c:invertIfNegative val="0"/>
          <c:val>
            <c:numRef>
              <c:f>Sheet1!$A$1:$D$1</c:f>
              <c:numCache>
                <c:formatCode>General</c:formatCode>
                <c:ptCount val="4"/>
                <c:pt idx="0">
                  <c:v>0</c:v>
                </c:pt>
              </c:numCache>
            </c:numRef>
          </c:val>
          <c:extLst>
            <c:ext xmlns:c16="http://schemas.microsoft.com/office/drawing/2014/chart" uri="{C3380CC4-5D6E-409C-BE32-E72D297353CC}">
              <c16:uniqueId val="{00000000-5A9F-4545-BF8C-0294C06CEA62}"/>
            </c:ext>
          </c:extLst>
        </c:ser>
        <c:ser>
          <c:idx val="1"/>
          <c:order val="1"/>
          <c:spPr>
            <a:solidFill>
              <a:schemeClr val="accent1"/>
            </a:solidFill>
            <a:ln>
              <a:noFill/>
            </a:ln>
          </c:spPr>
          <c:invertIfNegative val="0"/>
          <c:val>
            <c:numRef>
              <c:f>Sheet1!$A$2:$D$2</c:f>
              <c:numCache>
                <c:formatCode>General</c:formatCode>
                <c:ptCount val="4"/>
                <c:pt idx="0">
                  <c:v>8.7228435368211628</c:v>
                </c:pt>
                <c:pt idx="1">
                  <c:v>8.8827977690874409</c:v>
                </c:pt>
                <c:pt idx="2">
                  <c:v>7.6246492720404637</c:v>
                </c:pt>
                <c:pt idx="3">
                  <c:v>8.6509856017889568</c:v>
                </c:pt>
              </c:numCache>
            </c:numRef>
          </c:val>
          <c:extLst>
            <c:ext xmlns:c16="http://schemas.microsoft.com/office/drawing/2014/chart" uri="{C3380CC4-5D6E-409C-BE32-E72D297353CC}">
              <c16:uniqueId val="{00000001-5A9F-4545-BF8C-0294C06CEA62}"/>
            </c:ext>
          </c:extLst>
        </c:ser>
        <c:ser>
          <c:idx val="2"/>
          <c:order val="2"/>
          <c:spPr>
            <a:solidFill>
              <a:schemeClr val="accent3"/>
            </a:solidFill>
            <a:ln>
              <a:noFill/>
            </a:ln>
          </c:spPr>
          <c:invertIfNegative val="0"/>
          <c:val>
            <c:numRef>
              <c:f>Sheet1!$A$3:$D$3</c:f>
              <c:numCache>
                <c:formatCode>General</c:formatCode>
                <c:ptCount val="4"/>
                <c:pt idx="0">
                  <c:v>8.8455253698080458</c:v>
                </c:pt>
                <c:pt idx="1">
                  <c:v>7.8364567775327192</c:v>
                </c:pt>
                <c:pt idx="2">
                  <c:v>6.9866771952218718</c:v>
                </c:pt>
                <c:pt idx="3">
                  <c:v>8.845381177238842</c:v>
                </c:pt>
              </c:numCache>
            </c:numRef>
          </c:val>
          <c:extLst>
            <c:ext xmlns:c16="http://schemas.microsoft.com/office/drawing/2014/chart" uri="{C3380CC4-5D6E-409C-BE32-E72D297353CC}">
              <c16:uniqueId val="{00000002-5A9F-4545-BF8C-0294C06CEA62}"/>
            </c:ext>
          </c:extLst>
        </c:ser>
        <c:dLbls>
          <c:showLegendKey val="0"/>
          <c:showVal val="0"/>
          <c:showCatName val="0"/>
          <c:showSerName val="0"/>
          <c:showPercent val="0"/>
          <c:showBubbleSize val="0"/>
        </c:dLbls>
        <c:gapWidth val="0"/>
        <c:axId val="1281390192"/>
        <c:axId val="1"/>
      </c:barChart>
      <c:catAx>
        <c:axId val="12813901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8827977690874409"/>
          <c:min val="0"/>
        </c:scaling>
        <c:delete val="1"/>
        <c:axPos val="l"/>
        <c:numFmt formatCode="General" sourceLinked="1"/>
        <c:majorTickMark val="out"/>
        <c:minorTickMark val="none"/>
        <c:tickLblPos val="nextTo"/>
        <c:crossAx val="1281390192"/>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95535985423625E-3"/>
          <c:y val="2.9099048684946838E-2"/>
          <c:w val="0.98420892802915272"/>
          <c:h val="0.94180190263010632"/>
        </c:manualLayout>
      </c:layout>
      <c:barChart>
        <c:barDir val="col"/>
        <c:grouping val="stacked"/>
        <c:varyColors val="0"/>
        <c:ser>
          <c:idx val="0"/>
          <c:order val="0"/>
          <c:spPr>
            <a:noFill/>
            <a:ln>
              <a:noFill/>
            </a:ln>
          </c:spPr>
          <c:invertIfNegative val="0"/>
          <c:dPt>
            <c:idx val="0"/>
            <c:invertIfNegative val="0"/>
            <c:bubble3D val="0"/>
            <c:spPr>
              <a:solidFill>
                <a:srgbClr val="0012BE"/>
              </a:solidFill>
              <a:ln>
                <a:noFill/>
              </a:ln>
            </c:spPr>
            <c:extLst>
              <c:ext xmlns:c16="http://schemas.microsoft.com/office/drawing/2014/chart" uri="{C3380CC4-5D6E-409C-BE32-E72D297353CC}">
                <c16:uniqueId val="{00000000-6F16-41B0-9323-2B826BBB68A1}"/>
              </c:ext>
            </c:extLst>
          </c:dPt>
          <c:dPt>
            <c:idx val="7"/>
            <c:invertIfNegative val="0"/>
            <c:bubble3D val="0"/>
            <c:spPr>
              <a:solidFill>
                <a:srgbClr val="0012BE"/>
              </a:solidFill>
              <a:ln>
                <a:noFill/>
              </a:ln>
            </c:spPr>
            <c:extLst>
              <c:ext xmlns:c16="http://schemas.microsoft.com/office/drawing/2014/chart" uri="{C3380CC4-5D6E-409C-BE32-E72D297353CC}">
                <c16:uniqueId val="{00000001-6F16-41B0-9323-2B826BBB68A1}"/>
              </c:ext>
            </c:extLst>
          </c:dPt>
          <c:val>
            <c:numRef>
              <c:f>Sheet1!$A$1:$H$1</c:f>
              <c:numCache>
                <c:formatCode>General</c:formatCode>
                <c:ptCount val="8"/>
                <c:pt idx="0">
                  <c:v>10417.216518292698</c:v>
                </c:pt>
                <c:pt idx="1">
                  <c:v>10417.216518292698</c:v>
                </c:pt>
                <c:pt idx="2">
                  <c:v>57557.348518292711</c:v>
                </c:pt>
                <c:pt idx="3">
                  <c:v>55734.082518292707</c:v>
                </c:pt>
                <c:pt idx="4">
                  <c:v>55734.082518292707</c:v>
                </c:pt>
                <c:pt idx="5">
                  <c:v>53898.653518292733</c:v>
                </c:pt>
                <c:pt idx="6">
                  <c:v>53001.93551829271</c:v>
                </c:pt>
                <c:pt idx="7">
                  <c:v>53001.935518292652</c:v>
                </c:pt>
              </c:numCache>
            </c:numRef>
          </c:val>
          <c:extLst>
            <c:ext xmlns:c16="http://schemas.microsoft.com/office/drawing/2014/chart" uri="{C3380CC4-5D6E-409C-BE32-E72D297353CC}">
              <c16:uniqueId val="{00000002-6F16-41B0-9323-2B826BBB68A1}"/>
            </c:ext>
          </c:extLst>
        </c:ser>
        <c:ser>
          <c:idx val="1"/>
          <c:order val="1"/>
          <c:spPr>
            <a:solidFill>
              <a:srgbClr val="753DED"/>
            </a:solidFill>
            <a:ln>
              <a:noFill/>
            </a:ln>
          </c:spPr>
          <c:invertIfNegative val="0"/>
          <c:dPt>
            <c:idx val="1"/>
            <c:invertIfNegative val="0"/>
            <c:bubble3D val="0"/>
            <c:spPr>
              <a:solidFill>
                <a:srgbClr val="5894FF"/>
              </a:solidFill>
              <a:ln>
                <a:noFill/>
              </a:ln>
            </c:spPr>
            <c:extLst>
              <c:ext xmlns:c16="http://schemas.microsoft.com/office/drawing/2014/chart" uri="{C3380CC4-5D6E-409C-BE32-E72D297353CC}">
                <c16:uniqueId val="{00000003-6F16-41B0-9323-2B826BBB68A1}"/>
              </c:ext>
            </c:extLst>
          </c:dPt>
          <c:dPt>
            <c:idx val="6"/>
            <c:invertIfNegative val="0"/>
            <c:bubble3D val="0"/>
            <c:spPr>
              <a:solidFill>
                <a:srgbClr val="5894FF"/>
              </a:solidFill>
              <a:ln>
                <a:noFill/>
              </a:ln>
            </c:spPr>
            <c:extLst>
              <c:ext xmlns:c16="http://schemas.microsoft.com/office/drawing/2014/chart" uri="{C3380CC4-5D6E-409C-BE32-E72D297353CC}">
                <c16:uniqueId val="{00000004-6F16-41B0-9323-2B826BBB68A1}"/>
              </c:ext>
            </c:extLst>
          </c:dPt>
          <c:val>
            <c:numRef>
              <c:f>Sheet1!$A$2:$H$2</c:f>
              <c:numCache>
                <c:formatCode>General</c:formatCode>
                <c:ptCount val="8"/>
                <c:pt idx="1">
                  <c:v>74279.283000000025</c:v>
                </c:pt>
                <c:pt idx="2">
                  <c:v>27139.150999999983</c:v>
                </c:pt>
                <c:pt idx="3">
                  <c:v>1823.2660000000033</c:v>
                </c:pt>
                <c:pt idx="4">
                  <c:v>0</c:v>
                </c:pt>
                <c:pt idx="5">
                  <c:v>1835.4290000000037</c:v>
                </c:pt>
                <c:pt idx="6">
                  <c:v>896.71799999999348</c:v>
                </c:pt>
              </c:numCache>
            </c:numRef>
          </c:val>
          <c:extLst>
            <c:ext xmlns:c16="http://schemas.microsoft.com/office/drawing/2014/chart" uri="{C3380CC4-5D6E-409C-BE32-E72D297353CC}">
              <c16:uniqueId val="{00000005-6F16-41B0-9323-2B826BBB68A1}"/>
            </c:ext>
          </c:extLst>
        </c:ser>
        <c:dLbls>
          <c:showLegendKey val="0"/>
          <c:showVal val="0"/>
          <c:showCatName val="0"/>
          <c:showSerName val="0"/>
          <c:showPercent val="0"/>
          <c:showBubbleSize val="0"/>
        </c:dLbls>
        <c:gapWidth val="80"/>
        <c:overlap val="100"/>
        <c:axId val="773451344"/>
        <c:axId val="1"/>
      </c:barChart>
      <c:catAx>
        <c:axId val="7734513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4696.499518292723"/>
          <c:min val="0"/>
        </c:scaling>
        <c:delete val="1"/>
        <c:axPos val="l"/>
        <c:numFmt formatCode="General" sourceLinked="1"/>
        <c:majorTickMark val="out"/>
        <c:minorTickMark val="none"/>
        <c:tickLblPos val="nextTo"/>
        <c:crossAx val="773451344"/>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339113037679228E-2"/>
          <c:y val="0.19375443577004969"/>
          <c:w val="0.96532177392464158"/>
          <c:h val="0.66926898509581267"/>
        </c:manualLayout>
      </c:layout>
      <c:barChart>
        <c:barDir val="col"/>
        <c:grouping val="stacked"/>
        <c:varyColors val="0"/>
        <c:ser>
          <c:idx val="0"/>
          <c:order val="0"/>
          <c:spPr>
            <a:solidFill>
              <a:schemeClr val="accent2"/>
            </a:solidFill>
            <a:ln>
              <a:noFill/>
            </a:ln>
          </c:spPr>
          <c:invertIfNegative val="0"/>
          <c:dLbls>
            <c:dLbl>
              <c:idx val="0"/>
              <c:layout>
                <c:manualLayout>
                  <c:x val="0"/>
                  <c:y val="-0.39176721078779275"/>
                </c:manualLayout>
              </c:layout>
              <c:numFmt formatCode="#,##0;&quot;-&quot;#,##0" sourceLinked="0"/>
              <c:spPr>
                <a:noFill/>
                <a:ln>
                  <a:noFill/>
                </a:ln>
              </c:spPr>
              <c:txPr>
                <a:bodyPr wrap="none"/>
                <a:lstStyle/>
                <a:p>
                  <a:pPr>
                    <a:defRPr sz="1400" kern="1200">
                      <a:solidFill>
                        <a:schemeClr val="tx1"/>
                      </a:solidFill>
                      <a:latin typeface="Montserrat"/>
                      <a:ea typeface="Montserrat"/>
                      <a:cs typeface="Montserrat"/>
                      <a:sym typeface="Montserrat"/>
                    </a:defRPr>
                  </a:pPr>
                  <a:endParaRPr lang="es-C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74-4FB2-9407-BD685D0394BA}"/>
                </c:ext>
              </c:extLst>
            </c:dLbl>
            <c:dLbl>
              <c:idx val="1"/>
              <c:layout>
                <c:manualLayout>
                  <c:x val="0"/>
                  <c:y val="-0.15755855216465578"/>
                </c:manualLayout>
              </c:layout>
              <c:numFmt formatCode="#,##0;&quot;-&quot;#,##0" sourceLinked="0"/>
              <c:spPr>
                <a:noFill/>
                <a:ln>
                  <a:noFill/>
                </a:ln>
              </c:spPr>
              <c:txPr>
                <a:bodyPr wrap="none"/>
                <a:lstStyle/>
                <a:p>
                  <a:pPr>
                    <a:defRPr sz="1400" kern="1200">
                      <a:solidFill>
                        <a:schemeClr val="tx1"/>
                      </a:solidFill>
                      <a:latin typeface="Montserrat"/>
                      <a:ea typeface="Montserrat"/>
                      <a:cs typeface="Montserrat"/>
                      <a:sym typeface="Montserrat"/>
                    </a:defRPr>
                  </a:pPr>
                  <a:endParaRPr lang="es-C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74-4FB2-9407-BD685D0394BA}"/>
                </c:ext>
              </c:extLst>
            </c:dLbl>
            <c:dLbl>
              <c:idx val="2"/>
              <c:layout>
                <c:manualLayout>
                  <c:x val="0"/>
                  <c:y val="-0.25762952448545068"/>
                </c:manualLayout>
              </c:layout>
              <c:numFmt formatCode="#,##0;&quot;-&quot;#,##0" sourceLinked="0"/>
              <c:spPr>
                <a:noFill/>
                <a:ln>
                  <a:noFill/>
                </a:ln>
              </c:spPr>
              <c:txPr>
                <a:bodyPr wrap="none"/>
                <a:lstStyle/>
                <a:p>
                  <a:pPr>
                    <a:defRPr sz="1400" kern="1200">
                      <a:solidFill>
                        <a:schemeClr val="tx1"/>
                      </a:solidFill>
                      <a:latin typeface="Montserrat"/>
                      <a:ea typeface="Montserrat"/>
                      <a:cs typeface="Montserrat"/>
                      <a:sym typeface="Montserrat"/>
                    </a:defRPr>
                  </a:pPr>
                  <a:endParaRPr lang="es-C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74-4FB2-9407-BD685D0394B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0</c:v>
                </c:pt>
                <c:pt idx="1">
                  <c:v>3</c:v>
                </c:pt>
                <c:pt idx="2">
                  <c:v>6</c:v>
                </c:pt>
              </c:numCache>
            </c:numRef>
          </c:val>
          <c:extLst>
            <c:ext xmlns:c16="http://schemas.microsoft.com/office/drawing/2014/chart" uri="{C3380CC4-5D6E-409C-BE32-E72D297353CC}">
              <c16:uniqueId val="{00000003-2D74-4FB2-9407-BD685D0394BA}"/>
            </c:ext>
          </c:extLst>
        </c:ser>
        <c:dLbls>
          <c:showLegendKey val="0"/>
          <c:showVal val="0"/>
          <c:showCatName val="0"/>
          <c:showSerName val="0"/>
          <c:showPercent val="0"/>
          <c:showBubbleSize val="0"/>
        </c:dLbls>
        <c:gapWidth val="80"/>
        <c:overlap val="100"/>
        <c:axId val="1912533871"/>
        <c:axId val="1"/>
      </c:barChart>
      <c:catAx>
        <c:axId val="19125338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l"/>
        <c:numFmt formatCode="General" sourceLinked="1"/>
        <c:majorTickMark val="out"/>
        <c:minorTickMark val="none"/>
        <c:tickLblPos val="nextTo"/>
        <c:crossAx val="1912533871"/>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455696202531647E-2"/>
          <c:y val="5.823068309070549E-2"/>
          <c:w val="0.96708860759493676"/>
          <c:h val="0.88353863381858899"/>
        </c:manualLayout>
      </c:layout>
      <c:barChart>
        <c:barDir val="col"/>
        <c:grouping val="stacked"/>
        <c:varyColors val="0"/>
        <c:ser>
          <c:idx val="0"/>
          <c:order val="0"/>
          <c:spPr>
            <a:solidFill>
              <a:schemeClr val="accent1"/>
            </a:solidFill>
            <a:ln w="9525" cmpd="sng" algn="ctr">
              <a:solidFill>
                <a:schemeClr val="tx1"/>
              </a:solidFill>
              <a:prstDash val="solid"/>
            </a:ln>
          </c:spPr>
          <c:invertIfNegative val="0"/>
          <c:dPt>
            <c:idx val="1"/>
            <c:invertIfNegative val="0"/>
            <c:bubble3D val="0"/>
            <c:spPr>
              <a:solidFill>
                <a:schemeClr val="accent2"/>
              </a:solidFill>
              <a:ln w="9525" cmpd="sng" algn="ctr">
                <a:solidFill>
                  <a:schemeClr val="tx1"/>
                </a:solidFill>
                <a:prstDash val="solid"/>
              </a:ln>
            </c:spPr>
            <c:extLst>
              <c:ext xmlns:c16="http://schemas.microsoft.com/office/drawing/2014/chart" uri="{C3380CC4-5D6E-409C-BE32-E72D297353CC}">
                <c16:uniqueId val="{00000000-4282-4F08-9FF0-8039236D7AA0}"/>
              </c:ext>
            </c:extLst>
          </c:dPt>
          <c:dPt>
            <c:idx val="3"/>
            <c:invertIfNegative val="0"/>
            <c:bubble3D val="0"/>
            <c:spPr>
              <a:solidFill>
                <a:schemeClr val="accent2"/>
              </a:solidFill>
              <a:ln w="9525" cmpd="sng" algn="ctr">
                <a:solidFill>
                  <a:schemeClr val="tx1"/>
                </a:solidFill>
                <a:prstDash val="solid"/>
              </a:ln>
            </c:spPr>
            <c:extLst>
              <c:ext xmlns:c16="http://schemas.microsoft.com/office/drawing/2014/chart" uri="{C3380CC4-5D6E-409C-BE32-E72D297353CC}">
                <c16:uniqueId val="{00000001-4282-4F08-9FF0-8039236D7AA0}"/>
              </c:ext>
            </c:extLst>
          </c:dPt>
          <c:val>
            <c:numRef>
              <c:f>Sheet1!$A$1:$D$1</c:f>
              <c:numCache>
                <c:formatCode>General</c:formatCode>
                <c:ptCount val="4"/>
                <c:pt idx="0">
                  <c:v>73203.865999999995</c:v>
                </c:pt>
                <c:pt idx="1">
                  <c:v>81375.16</c:v>
                </c:pt>
                <c:pt idx="2">
                  <c:v>73203.865999999995</c:v>
                </c:pt>
                <c:pt idx="3">
                  <c:v>81375.16</c:v>
                </c:pt>
              </c:numCache>
            </c:numRef>
          </c:val>
          <c:extLst>
            <c:ext xmlns:c16="http://schemas.microsoft.com/office/drawing/2014/chart" uri="{C3380CC4-5D6E-409C-BE32-E72D297353CC}">
              <c16:uniqueId val="{00000002-4282-4F08-9FF0-8039236D7AA0}"/>
            </c:ext>
          </c:extLst>
        </c:ser>
        <c:dLbls>
          <c:showLegendKey val="0"/>
          <c:showVal val="0"/>
          <c:showCatName val="0"/>
          <c:showSerName val="0"/>
          <c:showPercent val="0"/>
          <c:showBubbleSize val="0"/>
        </c:dLbls>
        <c:gapWidth val="50"/>
        <c:overlap val="100"/>
        <c:axId val="372560000"/>
        <c:axId val="1"/>
      </c:barChart>
      <c:catAx>
        <c:axId val="3725600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1375.16"/>
          <c:min val="0"/>
        </c:scaling>
        <c:delete val="1"/>
        <c:axPos val="l"/>
        <c:numFmt formatCode="General" sourceLinked="1"/>
        <c:majorTickMark val="out"/>
        <c:minorTickMark val="none"/>
        <c:tickLblPos val="nextTo"/>
        <c:crossAx val="37256000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384508990318118E-2"/>
          <c:y val="4.0341349883630723E-2"/>
          <c:w val="0.97123098201936375"/>
          <c:h val="0.91931730023273861"/>
        </c:manualLayout>
      </c:layout>
      <c:barChart>
        <c:barDir val="col"/>
        <c:grouping val="stacked"/>
        <c:varyColors val="0"/>
        <c:ser>
          <c:idx val="0"/>
          <c:order val="0"/>
          <c:spPr>
            <a:solidFill>
              <a:schemeClr val="accent2"/>
            </a:solidFill>
            <a:ln>
              <a:noFill/>
            </a:ln>
          </c:spPr>
          <c:invertIfNegative val="0"/>
          <c:dPt>
            <c:idx val="4"/>
            <c:invertIfNegative val="0"/>
            <c:bubble3D val="0"/>
            <c:spPr>
              <a:solidFill>
                <a:schemeClr val="accent1"/>
              </a:solidFill>
              <a:ln>
                <a:noFill/>
              </a:ln>
            </c:spPr>
            <c:extLst>
              <c:ext xmlns:c16="http://schemas.microsoft.com/office/drawing/2014/chart" uri="{C3380CC4-5D6E-409C-BE32-E72D297353CC}">
                <c16:uniqueId val="{00000000-40F8-4514-BBD3-6471F02DD99D}"/>
              </c:ext>
            </c:extLst>
          </c:dPt>
          <c:val>
            <c:numRef>
              <c:f>Sheet1!$A$1:$E$1</c:f>
              <c:numCache>
                <c:formatCode>General</c:formatCode>
                <c:ptCount val="5"/>
                <c:pt idx="0">
                  <c:v>13.07044697692865</c:v>
                </c:pt>
                <c:pt idx="1">
                  <c:v>5.9122743783296965</c:v>
                </c:pt>
                <c:pt idx="2">
                  <c:v>5.6815605357541568</c:v>
                </c:pt>
                <c:pt idx="3">
                  <c:v>3.9286237067812717</c:v>
                </c:pt>
                <c:pt idx="4">
                  <c:v>71.407094402206212</c:v>
                </c:pt>
              </c:numCache>
            </c:numRef>
          </c:val>
          <c:extLst>
            <c:ext xmlns:c16="http://schemas.microsoft.com/office/drawing/2014/chart" uri="{C3380CC4-5D6E-409C-BE32-E72D297353CC}">
              <c16:uniqueId val="{00000001-40F8-4514-BBD3-6471F02DD99D}"/>
            </c:ext>
          </c:extLst>
        </c:ser>
        <c:dLbls>
          <c:showLegendKey val="0"/>
          <c:showVal val="0"/>
          <c:showCatName val="0"/>
          <c:showSerName val="0"/>
          <c:showPercent val="0"/>
          <c:showBubbleSize val="0"/>
        </c:dLbls>
        <c:gapWidth val="80"/>
        <c:overlap val="100"/>
        <c:axId val="1227031392"/>
        <c:axId val="1"/>
      </c:barChart>
      <c:catAx>
        <c:axId val="12270313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1.407094402206212"/>
          <c:min val="0"/>
        </c:scaling>
        <c:delete val="1"/>
        <c:axPos val="l"/>
        <c:numFmt formatCode="General" sourceLinked="1"/>
        <c:majorTickMark val="out"/>
        <c:minorTickMark val="none"/>
        <c:tickLblPos val="nextTo"/>
        <c:crossAx val="1227031392"/>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1.5928125413818738E-2"/>
          <c:w val="0.51308046993086376"/>
          <c:h val="0.95779446068594609"/>
        </c:manualLayout>
      </c:layout>
      <c:pieChart>
        <c:varyColors val="1"/>
        <c:ser>
          <c:idx val="0"/>
          <c:order val="0"/>
          <c:dPt>
            <c:idx val="0"/>
            <c:bubble3D val="0"/>
            <c:spPr>
              <a:solidFill>
                <a:srgbClr val="38279B"/>
              </a:solidFill>
              <a:ln w="19050">
                <a:noFill/>
              </a:ln>
              <a:effectLst/>
            </c:spPr>
            <c:extLst>
              <c:ext xmlns:c16="http://schemas.microsoft.com/office/drawing/2014/chart" uri="{C3380CC4-5D6E-409C-BE32-E72D297353CC}">
                <c16:uniqueId val="{00000001-8105-4CFF-8BE6-C3A828D0CEA3}"/>
              </c:ext>
            </c:extLst>
          </c:dPt>
          <c:dPt>
            <c:idx val="1"/>
            <c:bubble3D val="0"/>
            <c:spPr>
              <a:solidFill>
                <a:schemeClr val="tx2"/>
              </a:solidFill>
              <a:ln w="19050">
                <a:noFill/>
              </a:ln>
              <a:effectLst/>
            </c:spPr>
            <c:extLst>
              <c:ext xmlns:c16="http://schemas.microsoft.com/office/drawing/2014/chart" uri="{C3380CC4-5D6E-409C-BE32-E72D297353CC}">
                <c16:uniqueId val="{00000003-8105-4CFF-8BE6-C3A828D0CEA3}"/>
              </c:ext>
            </c:extLst>
          </c:dPt>
          <c:dPt>
            <c:idx val="2"/>
            <c:bubble3D val="0"/>
            <c:spPr>
              <a:solidFill>
                <a:schemeClr val="accent4"/>
              </a:solidFill>
              <a:ln w="19050">
                <a:noFill/>
              </a:ln>
              <a:effectLst/>
            </c:spPr>
            <c:extLst>
              <c:ext xmlns:c16="http://schemas.microsoft.com/office/drawing/2014/chart" uri="{C3380CC4-5D6E-409C-BE32-E72D297353CC}">
                <c16:uniqueId val="{00000005-8105-4CFF-8BE6-C3A828D0CEA3}"/>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las Press Release 1Q25.xlsx]Breakdown Ingresos'!$N$10:$N$12</c:f>
              <c:strCache>
                <c:ptCount val="3"/>
                <c:pt idx="0">
                  <c:v>Fixed Rent</c:v>
                </c:pt>
                <c:pt idx="1">
                  <c:v>Variable Rent</c:v>
                </c:pt>
                <c:pt idx="2">
                  <c:v>Other</c:v>
                </c:pt>
              </c:strCache>
            </c:strRef>
          </c:cat>
          <c:val>
            <c:numRef>
              <c:f>'[Tablas Press Release 1Q25.xlsx]Breakdown Ingresos'!$O$10:$O$12</c:f>
              <c:numCache>
                <c:formatCode>0.0%</c:formatCode>
                <c:ptCount val="3"/>
                <c:pt idx="0">
                  <c:v>0.76549465840400099</c:v>
                </c:pt>
                <c:pt idx="1">
                  <c:v>0.10003232669528106</c:v>
                </c:pt>
                <c:pt idx="2">
                  <c:v>0.13447301490071786</c:v>
                </c:pt>
              </c:numCache>
            </c:numRef>
          </c:val>
          <c:extLst>
            <c:ext xmlns:c16="http://schemas.microsoft.com/office/drawing/2014/chart" uri="{C3380CC4-5D6E-409C-BE32-E72D297353CC}">
              <c16:uniqueId val="{00000006-8105-4CFF-8BE6-C3A828D0CEA3}"/>
            </c:ext>
          </c:extLst>
        </c:ser>
        <c:dLbls>
          <c:showLegendKey val="0"/>
          <c:showVal val="0"/>
          <c:showCatName val="0"/>
          <c:showSerName val="0"/>
          <c:showPercent val="0"/>
          <c:showBubbleSize val="0"/>
          <c:showLeaderLines val="1"/>
        </c:dLbls>
        <c:firstSliceAng val="0"/>
      </c:pieChart>
      <c:spPr>
        <a:noFill/>
        <a:ln>
          <a:noFill/>
        </a:ln>
        <a:effectLst/>
      </c:spPr>
    </c:plotArea>
    <c:legend>
      <c:legendPos val="l"/>
      <c:layout>
        <c:manualLayout>
          <c:xMode val="edge"/>
          <c:yMode val="edge"/>
          <c:x val="0.61538461538461542"/>
          <c:y val="0.37936498558637477"/>
          <c:w val="0.26676859779221979"/>
          <c:h val="0.33958786199590507"/>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658055256548258E-2"/>
          <c:y val="6.3106796116504854E-2"/>
          <c:w val="0.96268388948690353"/>
          <c:h val="0.87378640776699024"/>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0-C183-4590-AF81-AB3D24F91236}"/>
              </c:ext>
            </c:extLst>
          </c:dPt>
          <c:dPt>
            <c:idx val="2"/>
            <c:invertIfNegative val="0"/>
            <c:bubble3D val="0"/>
            <c:spPr>
              <a:solidFill>
                <a:schemeClr val="accent3"/>
              </a:solidFill>
              <a:ln>
                <a:noFill/>
              </a:ln>
            </c:spPr>
            <c:extLst>
              <c:ext xmlns:c16="http://schemas.microsoft.com/office/drawing/2014/chart" uri="{C3380CC4-5D6E-409C-BE32-E72D297353CC}">
                <c16:uniqueId val="{00000001-C183-4590-AF81-AB3D24F91236}"/>
              </c:ext>
            </c:extLst>
          </c:dPt>
          <c:val>
            <c:numRef>
              <c:f>Sheet1!$A$1:$D$1</c:f>
              <c:numCache>
                <c:formatCode>General</c:formatCode>
                <c:ptCount val="4"/>
                <c:pt idx="0">
                  <c:v>78709.365000000005</c:v>
                </c:pt>
                <c:pt idx="1">
                  <c:v>86988.028999999995</c:v>
                </c:pt>
                <c:pt idx="2">
                  <c:v>78709.365000000005</c:v>
                </c:pt>
                <c:pt idx="3">
                  <c:v>86988.028999999995</c:v>
                </c:pt>
              </c:numCache>
            </c:numRef>
          </c:val>
          <c:extLst>
            <c:ext xmlns:c16="http://schemas.microsoft.com/office/drawing/2014/chart" uri="{C3380CC4-5D6E-409C-BE32-E72D297353CC}">
              <c16:uniqueId val="{00000002-C183-4590-AF81-AB3D24F91236}"/>
            </c:ext>
          </c:extLst>
        </c:ser>
        <c:dLbls>
          <c:showLegendKey val="0"/>
          <c:showVal val="0"/>
          <c:showCatName val="0"/>
          <c:showSerName val="0"/>
          <c:showPercent val="0"/>
          <c:showBubbleSize val="0"/>
        </c:dLbls>
        <c:gapWidth val="80"/>
        <c:overlap val="100"/>
        <c:axId val="776668896"/>
        <c:axId val="1"/>
      </c:barChart>
      <c:catAx>
        <c:axId val="7766688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6988.028999999995"/>
          <c:min val="0"/>
        </c:scaling>
        <c:delete val="1"/>
        <c:axPos val="l"/>
        <c:numFmt formatCode="General" sourceLinked="1"/>
        <c:majorTickMark val="out"/>
        <c:minorTickMark val="none"/>
        <c:tickLblPos val="nextTo"/>
        <c:crossAx val="776668896"/>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658055256548258E-2"/>
          <c:y val="5.7142857142857141E-2"/>
          <c:w val="0.96268388948690353"/>
          <c:h val="0.88571428571428568"/>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0-148F-4048-9F34-B43E02796989}"/>
              </c:ext>
            </c:extLst>
          </c:dPt>
          <c:dPt>
            <c:idx val="2"/>
            <c:invertIfNegative val="0"/>
            <c:bubble3D val="0"/>
            <c:spPr>
              <a:solidFill>
                <a:schemeClr val="accent3"/>
              </a:solidFill>
              <a:ln>
                <a:noFill/>
              </a:ln>
            </c:spPr>
            <c:extLst>
              <c:ext xmlns:c16="http://schemas.microsoft.com/office/drawing/2014/chart" uri="{C3380CC4-5D6E-409C-BE32-E72D297353CC}">
                <c16:uniqueId val="{00000001-148F-4048-9F34-B43E02796989}"/>
              </c:ext>
            </c:extLst>
          </c:dPt>
          <c:val>
            <c:numRef>
              <c:f>Sheet1!$A$1:$D$1</c:f>
              <c:numCache>
                <c:formatCode>General</c:formatCode>
                <c:ptCount val="4"/>
                <c:pt idx="0">
                  <c:v>70873.612999999998</c:v>
                </c:pt>
                <c:pt idx="1">
                  <c:v>79153.358999999997</c:v>
                </c:pt>
                <c:pt idx="2">
                  <c:v>70873.612999999998</c:v>
                </c:pt>
                <c:pt idx="3">
                  <c:v>79153.358999999997</c:v>
                </c:pt>
              </c:numCache>
            </c:numRef>
          </c:val>
          <c:extLst>
            <c:ext xmlns:c16="http://schemas.microsoft.com/office/drawing/2014/chart" uri="{C3380CC4-5D6E-409C-BE32-E72D297353CC}">
              <c16:uniqueId val="{00000002-148F-4048-9F34-B43E02796989}"/>
            </c:ext>
          </c:extLst>
        </c:ser>
        <c:dLbls>
          <c:showLegendKey val="0"/>
          <c:showVal val="0"/>
          <c:showCatName val="0"/>
          <c:showSerName val="0"/>
          <c:showPercent val="0"/>
          <c:showBubbleSize val="0"/>
        </c:dLbls>
        <c:gapWidth val="80"/>
        <c:overlap val="100"/>
        <c:axId val="784601904"/>
        <c:axId val="1"/>
      </c:barChart>
      <c:catAx>
        <c:axId val="7846019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9153.358999999997"/>
          <c:min val="0"/>
        </c:scaling>
        <c:delete val="1"/>
        <c:axPos val="l"/>
        <c:numFmt formatCode="General" sourceLinked="1"/>
        <c:majorTickMark val="out"/>
        <c:minorTickMark val="none"/>
        <c:tickLblPos val="nextTo"/>
        <c:crossAx val="784601904"/>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220042046250877E-2"/>
          <c:y val="5.8823529411764705E-2"/>
          <c:w val="0.96355991590749823"/>
          <c:h val="0.88235294117647056"/>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0-E163-4948-87F7-823931F98ED9}"/>
              </c:ext>
            </c:extLst>
          </c:dPt>
          <c:dPt>
            <c:idx val="2"/>
            <c:invertIfNegative val="0"/>
            <c:bubble3D val="0"/>
            <c:spPr>
              <a:solidFill>
                <a:schemeClr val="accent3"/>
              </a:solidFill>
              <a:ln>
                <a:noFill/>
              </a:ln>
            </c:spPr>
            <c:extLst>
              <c:ext xmlns:c16="http://schemas.microsoft.com/office/drawing/2014/chart" uri="{C3380CC4-5D6E-409C-BE32-E72D297353CC}">
                <c16:uniqueId val="{00000001-E163-4948-87F7-823931F98ED9}"/>
              </c:ext>
            </c:extLst>
          </c:dPt>
          <c:val>
            <c:numRef>
              <c:f>Sheet1!$A$1:$D$1</c:f>
              <c:numCache>
                <c:formatCode>General</c:formatCode>
                <c:ptCount val="4"/>
                <c:pt idx="0">
                  <c:v>1904.713</c:v>
                </c:pt>
                <c:pt idx="1">
                  <c:v>1948.46</c:v>
                </c:pt>
                <c:pt idx="2">
                  <c:v>1904.713</c:v>
                </c:pt>
                <c:pt idx="3">
                  <c:v>1948.46</c:v>
                </c:pt>
              </c:numCache>
            </c:numRef>
          </c:val>
          <c:extLst>
            <c:ext xmlns:c16="http://schemas.microsoft.com/office/drawing/2014/chart" uri="{C3380CC4-5D6E-409C-BE32-E72D297353CC}">
              <c16:uniqueId val="{00000002-E163-4948-87F7-823931F98ED9}"/>
            </c:ext>
          </c:extLst>
        </c:ser>
        <c:dLbls>
          <c:showLegendKey val="0"/>
          <c:showVal val="0"/>
          <c:showCatName val="0"/>
          <c:showSerName val="0"/>
          <c:showPercent val="0"/>
          <c:showBubbleSize val="0"/>
        </c:dLbls>
        <c:gapWidth val="80"/>
        <c:overlap val="100"/>
        <c:axId val="1252934288"/>
        <c:axId val="1"/>
      </c:barChart>
      <c:catAx>
        <c:axId val="12529342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948.46"/>
          <c:min val="0"/>
        </c:scaling>
        <c:delete val="1"/>
        <c:axPos val="l"/>
        <c:numFmt formatCode="General" sourceLinked="1"/>
        <c:majorTickMark val="out"/>
        <c:minorTickMark val="none"/>
        <c:tickLblPos val="nextTo"/>
        <c:crossAx val="1252934288"/>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220042046250877E-2"/>
          <c:y val="6.0747663551401869E-2"/>
          <c:w val="0.96355991590749823"/>
          <c:h val="0.87850467289719625"/>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0-94B9-493C-9FE6-08960C921FF1}"/>
              </c:ext>
            </c:extLst>
          </c:dPt>
          <c:dPt>
            <c:idx val="2"/>
            <c:invertIfNegative val="0"/>
            <c:bubble3D val="0"/>
            <c:spPr>
              <a:solidFill>
                <a:schemeClr val="accent3"/>
              </a:solidFill>
              <a:ln>
                <a:noFill/>
              </a:ln>
            </c:spPr>
            <c:extLst>
              <c:ext xmlns:c16="http://schemas.microsoft.com/office/drawing/2014/chart" uri="{C3380CC4-5D6E-409C-BE32-E72D297353CC}">
                <c16:uniqueId val="{00000001-94B9-493C-9FE6-08960C921FF1}"/>
              </c:ext>
            </c:extLst>
          </c:dPt>
          <c:val>
            <c:numRef>
              <c:f>Sheet1!$A$1:$D$1</c:f>
              <c:numCache>
                <c:formatCode>General</c:formatCode>
                <c:ptCount val="4"/>
                <c:pt idx="0">
                  <c:v>1603.682</c:v>
                </c:pt>
                <c:pt idx="1">
                  <c:v>1903.13</c:v>
                </c:pt>
                <c:pt idx="2">
                  <c:v>1603.682</c:v>
                </c:pt>
                <c:pt idx="3">
                  <c:v>1903.13</c:v>
                </c:pt>
              </c:numCache>
            </c:numRef>
          </c:val>
          <c:extLst>
            <c:ext xmlns:c16="http://schemas.microsoft.com/office/drawing/2014/chart" uri="{C3380CC4-5D6E-409C-BE32-E72D297353CC}">
              <c16:uniqueId val="{00000002-94B9-493C-9FE6-08960C921FF1}"/>
            </c:ext>
          </c:extLst>
        </c:ser>
        <c:dLbls>
          <c:showLegendKey val="0"/>
          <c:showVal val="0"/>
          <c:showCatName val="0"/>
          <c:showSerName val="0"/>
          <c:showPercent val="0"/>
          <c:showBubbleSize val="0"/>
        </c:dLbls>
        <c:gapWidth val="80"/>
        <c:overlap val="100"/>
        <c:axId val="616701872"/>
        <c:axId val="1"/>
      </c:barChart>
      <c:catAx>
        <c:axId val="6167018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903.13"/>
          <c:min val="0"/>
        </c:scaling>
        <c:delete val="1"/>
        <c:axPos val="l"/>
        <c:numFmt formatCode="General" sourceLinked="1"/>
        <c:majorTickMark val="out"/>
        <c:minorTickMark val="none"/>
        <c:tickLblPos val="nextTo"/>
        <c:crossAx val="61670187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145802650957292E-2"/>
          <c:y val="5.6583242655059846E-2"/>
          <c:w val="0.96170839469808544"/>
          <c:h val="0.88683351468988025"/>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0-10CB-4CA5-A9BC-F19A300B56D0}"/>
              </c:ext>
            </c:extLst>
          </c:dPt>
          <c:dPt>
            <c:idx val="2"/>
            <c:invertIfNegative val="0"/>
            <c:bubble3D val="0"/>
            <c:spPr>
              <a:solidFill>
                <a:schemeClr val="accent3"/>
              </a:solidFill>
              <a:ln>
                <a:noFill/>
              </a:ln>
            </c:spPr>
            <c:extLst>
              <c:ext xmlns:c16="http://schemas.microsoft.com/office/drawing/2014/chart" uri="{C3380CC4-5D6E-409C-BE32-E72D297353CC}">
                <c16:uniqueId val="{00000001-10CB-4CA5-A9BC-F19A300B56D0}"/>
              </c:ext>
            </c:extLst>
          </c:dPt>
          <c:val>
            <c:numRef>
              <c:f>Sheet1!$A$1:$D$1</c:f>
              <c:numCache>
                <c:formatCode>General</c:formatCode>
                <c:ptCount val="4"/>
                <c:pt idx="0">
                  <c:v>1402.1569999999999</c:v>
                </c:pt>
                <c:pt idx="1">
                  <c:v>1336.6120000000001</c:v>
                </c:pt>
                <c:pt idx="2">
                  <c:v>1402.1569999999999</c:v>
                </c:pt>
                <c:pt idx="3">
                  <c:v>1336.6120000000001</c:v>
                </c:pt>
              </c:numCache>
            </c:numRef>
          </c:val>
          <c:extLst>
            <c:ext xmlns:c16="http://schemas.microsoft.com/office/drawing/2014/chart" uri="{C3380CC4-5D6E-409C-BE32-E72D297353CC}">
              <c16:uniqueId val="{00000002-10CB-4CA5-A9BC-F19A300B56D0}"/>
            </c:ext>
          </c:extLst>
        </c:ser>
        <c:dLbls>
          <c:showLegendKey val="0"/>
          <c:showVal val="0"/>
          <c:showCatName val="0"/>
          <c:showSerName val="0"/>
          <c:showPercent val="0"/>
          <c:showBubbleSize val="0"/>
        </c:dLbls>
        <c:gapWidth val="80"/>
        <c:overlap val="100"/>
        <c:axId val="762940336"/>
        <c:axId val="1"/>
      </c:barChart>
      <c:catAx>
        <c:axId val="7629403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2.1569999999999"/>
          <c:min val="0"/>
        </c:scaling>
        <c:delete val="1"/>
        <c:axPos val="l"/>
        <c:numFmt formatCode="General" sourceLinked="1"/>
        <c:majorTickMark val="out"/>
        <c:minorTickMark val="none"/>
        <c:tickLblPos val="nextTo"/>
        <c:crossAx val="762940336"/>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B0E79304-934D-837C-B4EB-38CFD714075A}"/>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s-CL"/>
          </a:p>
        </p:txBody>
      </p:sp>
      <p:sp>
        <p:nvSpPr>
          <p:cNvPr id="3" name="Marcador de fecha 2">
            <a:extLst>
              <a:ext uri="{FF2B5EF4-FFF2-40B4-BE49-F238E27FC236}">
                <a16:creationId xmlns:a16="http://schemas.microsoft.com/office/drawing/2014/main" id="{3CAAED61-BBFD-105F-E7DE-15BA5039975B}"/>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525A5E93-CD61-0348-BD58-4B5CB2C07AC2}" type="datetimeFigureOut">
              <a:rPr lang="es-CL" smtClean="0"/>
              <a:t>08-05-2025</a:t>
            </a:fld>
            <a:endParaRPr lang="es-CL"/>
          </a:p>
        </p:txBody>
      </p:sp>
      <p:sp>
        <p:nvSpPr>
          <p:cNvPr id="4" name="Marcador de pie de página 3">
            <a:extLst>
              <a:ext uri="{FF2B5EF4-FFF2-40B4-BE49-F238E27FC236}">
                <a16:creationId xmlns:a16="http://schemas.microsoft.com/office/drawing/2014/main" id="{7AD4CBC9-F0EB-A5A0-AE7A-F25678F46C69}"/>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id="{022C08E3-416F-3068-1AC9-7B74C9414609}"/>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45FEF483-A0A3-2242-99FD-2860EDD99AD0}" type="slidenum">
              <a:rPr lang="es-CL" smtClean="0"/>
              <a:t>‹Nº›</a:t>
            </a:fld>
            <a:endParaRPr lang="es-CL"/>
          </a:p>
        </p:txBody>
      </p:sp>
    </p:spTree>
    <p:extLst>
      <p:ext uri="{BB962C8B-B14F-4D97-AF65-F5344CB8AC3E}">
        <p14:creationId xmlns:p14="http://schemas.microsoft.com/office/powerpoint/2010/main" val="18039199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s-CL"/>
          </a:p>
        </p:txBody>
      </p:sp>
      <p:sp>
        <p:nvSpPr>
          <p:cNvPr id="3" name="Marcador de fecha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F5F275AA-92CC-C840-8C6C-EEA3CB6A0DB4}" type="datetimeFigureOut">
              <a:rPr lang="es-CL" smtClean="0"/>
              <a:t>08-05-2025</a:t>
            </a:fld>
            <a:endParaRPr lang="es-CL"/>
          </a:p>
        </p:txBody>
      </p:sp>
      <p:sp>
        <p:nvSpPr>
          <p:cNvPr id="4" name="Marcador de imagen de diapositiva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s-CL"/>
          </a:p>
        </p:txBody>
      </p:sp>
      <p:sp>
        <p:nvSpPr>
          <p:cNvPr id="5" name="Marcador de notas 4"/>
          <p:cNvSpPr>
            <a:spLocks noGrp="1"/>
          </p:cNvSpPr>
          <p:nvPr>
            <p:ph type="body" sz="quarter" idx="3"/>
          </p:nvPr>
        </p:nvSpPr>
        <p:spPr>
          <a:xfrm>
            <a:off x="701040" y="4473892"/>
            <a:ext cx="5608320" cy="3660458"/>
          </a:xfrm>
          <a:prstGeom prst="rect">
            <a:avLst/>
          </a:prstGeom>
        </p:spPr>
        <p:txBody>
          <a:bodyPr vert="horz" lIns="93177" tIns="46589" rIns="93177" bIns="46589" rtlCol="0"/>
          <a:lstStyle/>
          <a:p>
            <a:r>
              <a:rPr lang="es-ES"/>
              <a:t>Editar los estilos de texto del patrón
Segundo nivel
Tercer nivel
Cuarto nivel
Quinto nivel</a:t>
            </a:r>
            <a:endParaRPr lang="es-CL"/>
          </a:p>
        </p:txBody>
      </p:sp>
      <p:sp>
        <p:nvSpPr>
          <p:cNvPr id="6" name="Marcador de pie de página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CDD53589-0CFF-4C42-8E8D-36160734D044}" type="slidenum">
              <a:rPr lang="es-CL" smtClean="0"/>
              <a:t>‹Nº›</a:t>
            </a:fld>
            <a:endParaRPr lang="es-CL"/>
          </a:p>
        </p:txBody>
      </p:sp>
    </p:spTree>
    <p:extLst>
      <p:ext uri="{BB962C8B-B14F-4D97-AF65-F5344CB8AC3E}">
        <p14:creationId xmlns:p14="http://schemas.microsoft.com/office/powerpoint/2010/main" val="3900064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CDD53589-0CFF-4C42-8E8D-36160734D044}" type="slidenum">
              <a:rPr lang="es-CL" smtClean="0"/>
              <a:t>1</a:t>
            </a:fld>
            <a:endParaRPr lang="es-CL"/>
          </a:p>
        </p:txBody>
      </p:sp>
    </p:spTree>
    <p:extLst>
      <p:ext uri="{BB962C8B-B14F-4D97-AF65-F5344CB8AC3E}">
        <p14:creationId xmlns:p14="http://schemas.microsoft.com/office/powerpoint/2010/main" val="5448771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6CA9B-7A51-9D59-36FC-C43DB971430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76E2AA9-43AE-5683-8BBA-35685BEDADF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91793ED-C4F2-14AB-B886-9C0A659A5D78}"/>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EE688EF8-4DA8-7B02-162C-ECBCB019012D}"/>
              </a:ext>
            </a:extLst>
          </p:cNvPr>
          <p:cNvSpPr>
            <a:spLocks noGrp="1"/>
          </p:cNvSpPr>
          <p:nvPr>
            <p:ph type="sldNum" sz="quarter" idx="5"/>
          </p:nvPr>
        </p:nvSpPr>
        <p:spPr/>
        <p:txBody>
          <a:bodyPr/>
          <a:lstStyle/>
          <a:p>
            <a:fld id="{CDD53589-0CFF-4C42-8E8D-36160734D044}" type="slidenum">
              <a:rPr lang="es-CL" smtClean="0"/>
              <a:t>10</a:t>
            </a:fld>
            <a:endParaRPr lang="es-CL"/>
          </a:p>
        </p:txBody>
      </p:sp>
    </p:spTree>
    <p:extLst>
      <p:ext uri="{BB962C8B-B14F-4D97-AF65-F5344CB8AC3E}">
        <p14:creationId xmlns:p14="http://schemas.microsoft.com/office/powerpoint/2010/main" val="3284603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CDD53589-0CFF-4C42-8E8D-36160734D044}" type="slidenum">
              <a:rPr lang="es-CL" smtClean="0"/>
              <a:t>11</a:t>
            </a:fld>
            <a:endParaRPr lang="es-CL"/>
          </a:p>
        </p:txBody>
      </p:sp>
    </p:spTree>
    <p:extLst>
      <p:ext uri="{BB962C8B-B14F-4D97-AF65-F5344CB8AC3E}">
        <p14:creationId xmlns:p14="http://schemas.microsoft.com/office/powerpoint/2010/main" val="1484095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76E927-276D-E77D-39BF-8F84127C8D7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D72068C-F6C2-38A1-4955-84E12C36E33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585098E-8177-AD52-0775-7C838729DA93}"/>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B8864661-13FE-99E5-019F-98E0BA5D106D}"/>
              </a:ext>
            </a:extLst>
          </p:cNvPr>
          <p:cNvSpPr>
            <a:spLocks noGrp="1"/>
          </p:cNvSpPr>
          <p:nvPr>
            <p:ph type="sldNum" sz="quarter" idx="5"/>
          </p:nvPr>
        </p:nvSpPr>
        <p:spPr/>
        <p:txBody>
          <a:bodyPr/>
          <a:lstStyle/>
          <a:p>
            <a:fld id="{CDD53589-0CFF-4C42-8E8D-36160734D044}" type="slidenum">
              <a:rPr lang="es-CL" smtClean="0"/>
              <a:t>12</a:t>
            </a:fld>
            <a:endParaRPr lang="es-CL"/>
          </a:p>
        </p:txBody>
      </p:sp>
    </p:spTree>
    <p:extLst>
      <p:ext uri="{BB962C8B-B14F-4D97-AF65-F5344CB8AC3E}">
        <p14:creationId xmlns:p14="http://schemas.microsoft.com/office/powerpoint/2010/main" val="5427211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7217E4-7522-D997-6032-8CEBC696392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42EFA58-3BFE-1E30-8EF4-D470F8D1198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B037529-920E-A8C1-408C-88E630F21909}"/>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6CE359FF-B474-A455-C16C-28A2DAC71762}"/>
              </a:ext>
            </a:extLst>
          </p:cNvPr>
          <p:cNvSpPr>
            <a:spLocks noGrp="1"/>
          </p:cNvSpPr>
          <p:nvPr>
            <p:ph type="sldNum" sz="quarter" idx="5"/>
          </p:nvPr>
        </p:nvSpPr>
        <p:spPr/>
        <p:txBody>
          <a:bodyPr/>
          <a:lstStyle/>
          <a:p>
            <a:fld id="{CDD53589-0CFF-4C42-8E8D-36160734D044}" type="slidenum">
              <a:rPr lang="es-CL" smtClean="0"/>
              <a:t>13</a:t>
            </a:fld>
            <a:endParaRPr lang="es-CL"/>
          </a:p>
        </p:txBody>
      </p:sp>
    </p:spTree>
    <p:extLst>
      <p:ext uri="{BB962C8B-B14F-4D97-AF65-F5344CB8AC3E}">
        <p14:creationId xmlns:p14="http://schemas.microsoft.com/office/powerpoint/2010/main" val="35640119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0CDF8D-27B8-5D20-8506-33375F0B117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5E908F9-F7DC-12BA-CE9D-340DCF7CC5E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9B0476C-7184-DC2F-97D2-5A3CA997F839}"/>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2CEBE670-7FB3-5A8E-0A51-F8213B414BA9}"/>
              </a:ext>
            </a:extLst>
          </p:cNvPr>
          <p:cNvSpPr>
            <a:spLocks noGrp="1"/>
          </p:cNvSpPr>
          <p:nvPr>
            <p:ph type="sldNum" sz="quarter" idx="5"/>
          </p:nvPr>
        </p:nvSpPr>
        <p:spPr/>
        <p:txBody>
          <a:bodyPr/>
          <a:lstStyle/>
          <a:p>
            <a:fld id="{CDD53589-0CFF-4C42-8E8D-36160734D044}" type="slidenum">
              <a:rPr lang="es-CL" smtClean="0"/>
              <a:t>14</a:t>
            </a:fld>
            <a:endParaRPr lang="es-CL"/>
          </a:p>
        </p:txBody>
      </p:sp>
    </p:spTree>
    <p:extLst>
      <p:ext uri="{BB962C8B-B14F-4D97-AF65-F5344CB8AC3E}">
        <p14:creationId xmlns:p14="http://schemas.microsoft.com/office/powerpoint/2010/main" val="35756978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CDD53589-0CFF-4C42-8E8D-36160734D044}" type="slidenum">
              <a:rPr lang="es-CL" smtClean="0"/>
              <a:t>15</a:t>
            </a:fld>
            <a:endParaRPr lang="es-CL"/>
          </a:p>
        </p:txBody>
      </p:sp>
    </p:spTree>
    <p:extLst>
      <p:ext uri="{BB962C8B-B14F-4D97-AF65-F5344CB8AC3E}">
        <p14:creationId xmlns:p14="http://schemas.microsoft.com/office/powerpoint/2010/main" val="3832818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CDD53589-0CFF-4C42-8E8D-36160734D044}" type="slidenum">
              <a:rPr lang="es-CL" smtClean="0"/>
              <a:t>16</a:t>
            </a:fld>
            <a:endParaRPr lang="es-CL"/>
          </a:p>
        </p:txBody>
      </p:sp>
    </p:spTree>
    <p:extLst>
      <p:ext uri="{BB962C8B-B14F-4D97-AF65-F5344CB8AC3E}">
        <p14:creationId xmlns:p14="http://schemas.microsoft.com/office/powerpoint/2010/main" val="34641580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CDD53589-0CFF-4C42-8E8D-36160734D044}" type="slidenum">
              <a:rPr lang="es-CL" smtClean="0"/>
              <a:t>17</a:t>
            </a:fld>
            <a:endParaRPr lang="es-CL"/>
          </a:p>
        </p:txBody>
      </p:sp>
    </p:spTree>
    <p:extLst>
      <p:ext uri="{BB962C8B-B14F-4D97-AF65-F5344CB8AC3E}">
        <p14:creationId xmlns:p14="http://schemas.microsoft.com/office/powerpoint/2010/main" val="41871079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6C393A-18B8-8F14-F925-44F0ED165E4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1C87EDD-A917-FC53-763C-4C69373B9A3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4604D9C2-2E67-D17C-D3D5-8B1C07E5FB39}"/>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03879329-1533-3B33-0562-F67095DE1977}"/>
              </a:ext>
            </a:extLst>
          </p:cNvPr>
          <p:cNvSpPr>
            <a:spLocks noGrp="1"/>
          </p:cNvSpPr>
          <p:nvPr>
            <p:ph type="sldNum" sz="quarter" idx="5"/>
          </p:nvPr>
        </p:nvSpPr>
        <p:spPr/>
        <p:txBody>
          <a:bodyPr/>
          <a:lstStyle/>
          <a:p>
            <a:fld id="{CDD53589-0CFF-4C42-8E8D-36160734D044}" type="slidenum">
              <a:rPr lang="es-CL" smtClean="0"/>
              <a:t>18</a:t>
            </a:fld>
            <a:endParaRPr lang="es-CL"/>
          </a:p>
        </p:txBody>
      </p:sp>
    </p:spTree>
    <p:extLst>
      <p:ext uri="{BB962C8B-B14F-4D97-AF65-F5344CB8AC3E}">
        <p14:creationId xmlns:p14="http://schemas.microsoft.com/office/powerpoint/2010/main" val="20932794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6C2A6D-9E36-BCF9-341C-5E3107B2D30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7ACBA1A-CF7C-1BD7-4A6A-9B93CDCED7A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E2DCAB1-9238-7874-034D-CF867E78C365}"/>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A0917FE2-A5ED-ADF9-0B81-D7B643E99FEF}"/>
              </a:ext>
            </a:extLst>
          </p:cNvPr>
          <p:cNvSpPr>
            <a:spLocks noGrp="1"/>
          </p:cNvSpPr>
          <p:nvPr>
            <p:ph type="sldNum" sz="quarter" idx="5"/>
          </p:nvPr>
        </p:nvSpPr>
        <p:spPr/>
        <p:txBody>
          <a:bodyPr/>
          <a:lstStyle/>
          <a:p>
            <a:fld id="{CDD53589-0CFF-4C42-8E8D-36160734D044}" type="slidenum">
              <a:rPr lang="es-CL" smtClean="0"/>
              <a:t>19</a:t>
            </a:fld>
            <a:endParaRPr lang="es-CL"/>
          </a:p>
        </p:txBody>
      </p:sp>
    </p:spTree>
    <p:extLst>
      <p:ext uri="{BB962C8B-B14F-4D97-AF65-F5344CB8AC3E}">
        <p14:creationId xmlns:p14="http://schemas.microsoft.com/office/powerpoint/2010/main" val="2954630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CDD53589-0CFF-4C42-8E8D-36160734D044}" type="slidenum">
              <a:rPr lang="es-CL" smtClean="0"/>
              <a:t>2</a:t>
            </a:fld>
            <a:endParaRPr lang="es-CL"/>
          </a:p>
        </p:txBody>
      </p:sp>
    </p:spTree>
    <p:extLst>
      <p:ext uri="{BB962C8B-B14F-4D97-AF65-F5344CB8AC3E}">
        <p14:creationId xmlns:p14="http://schemas.microsoft.com/office/powerpoint/2010/main" val="24040287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CDD53589-0CFF-4C42-8E8D-36160734D044}" type="slidenum">
              <a:rPr lang="es-CL" smtClean="0"/>
              <a:t>20</a:t>
            </a:fld>
            <a:endParaRPr lang="es-CL"/>
          </a:p>
        </p:txBody>
      </p:sp>
    </p:spTree>
    <p:extLst>
      <p:ext uri="{BB962C8B-B14F-4D97-AF65-F5344CB8AC3E}">
        <p14:creationId xmlns:p14="http://schemas.microsoft.com/office/powerpoint/2010/main" val="36841733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CDD53589-0CFF-4C42-8E8D-36160734D044}" type="slidenum">
              <a:rPr lang="es-CL" smtClean="0"/>
              <a:t>21</a:t>
            </a:fld>
            <a:endParaRPr lang="es-CL"/>
          </a:p>
        </p:txBody>
      </p:sp>
    </p:spTree>
    <p:extLst>
      <p:ext uri="{BB962C8B-B14F-4D97-AF65-F5344CB8AC3E}">
        <p14:creationId xmlns:p14="http://schemas.microsoft.com/office/powerpoint/2010/main" val="19245311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C1C3B-C7D9-A0E6-E585-910EFF2D137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61DCFF8-2E81-C215-0E3A-7AE75CBF09C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B896D55-3BA1-CEAE-8BA4-A97B50E98076}"/>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12673C3B-7985-192C-804F-919832E92B6F}"/>
              </a:ext>
            </a:extLst>
          </p:cNvPr>
          <p:cNvSpPr>
            <a:spLocks noGrp="1"/>
          </p:cNvSpPr>
          <p:nvPr>
            <p:ph type="sldNum" sz="quarter" idx="5"/>
          </p:nvPr>
        </p:nvSpPr>
        <p:spPr/>
        <p:txBody>
          <a:bodyPr/>
          <a:lstStyle/>
          <a:p>
            <a:fld id="{CDD53589-0CFF-4C42-8E8D-36160734D044}" type="slidenum">
              <a:rPr lang="es-CL" smtClean="0"/>
              <a:t>22</a:t>
            </a:fld>
            <a:endParaRPr lang="es-CL"/>
          </a:p>
        </p:txBody>
      </p:sp>
    </p:spTree>
    <p:extLst>
      <p:ext uri="{BB962C8B-B14F-4D97-AF65-F5344CB8AC3E}">
        <p14:creationId xmlns:p14="http://schemas.microsoft.com/office/powerpoint/2010/main" val="9038313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5ED2A9-F58D-C1DE-CBE3-EE0284BD7AF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298E3B3-E12A-340E-5A9C-98CA03A6216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9472719-E1AA-EF36-E4D5-D6D08CEAB0C2}"/>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C4108344-D26F-0B9F-6197-D4DA94191B33}"/>
              </a:ext>
            </a:extLst>
          </p:cNvPr>
          <p:cNvSpPr>
            <a:spLocks noGrp="1"/>
          </p:cNvSpPr>
          <p:nvPr>
            <p:ph type="sldNum" sz="quarter" idx="5"/>
          </p:nvPr>
        </p:nvSpPr>
        <p:spPr/>
        <p:txBody>
          <a:bodyPr/>
          <a:lstStyle/>
          <a:p>
            <a:fld id="{CDD53589-0CFF-4C42-8E8D-36160734D044}" type="slidenum">
              <a:rPr lang="es-CL" smtClean="0"/>
              <a:t>23</a:t>
            </a:fld>
            <a:endParaRPr lang="es-CL"/>
          </a:p>
        </p:txBody>
      </p:sp>
    </p:spTree>
    <p:extLst>
      <p:ext uri="{BB962C8B-B14F-4D97-AF65-F5344CB8AC3E}">
        <p14:creationId xmlns:p14="http://schemas.microsoft.com/office/powerpoint/2010/main" val="26555458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CDD53589-0CFF-4C42-8E8D-36160734D044}" type="slidenum">
              <a:rPr lang="es-CL" smtClean="0"/>
              <a:t>24</a:t>
            </a:fld>
            <a:endParaRPr lang="es-CL"/>
          </a:p>
        </p:txBody>
      </p:sp>
    </p:spTree>
    <p:extLst>
      <p:ext uri="{BB962C8B-B14F-4D97-AF65-F5344CB8AC3E}">
        <p14:creationId xmlns:p14="http://schemas.microsoft.com/office/powerpoint/2010/main" val="20449624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F979E1-59FE-E7EB-DC65-55C247434F0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F87629B-C934-B9E5-DA32-0A7731B12B3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6D20A4F-23B4-6E0E-DD82-BBE1A7C44BBA}"/>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5D83CAD5-6A8B-EB57-BF33-E0D399EF1757}"/>
              </a:ext>
            </a:extLst>
          </p:cNvPr>
          <p:cNvSpPr>
            <a:spLocks noGrp="1"/>
          </p:cNvSpPr>
          <p:nvPr>
            <p:ph type="sldNum" sz="quarter" idx="5"/>
          </p:nvPr>
        </p:nvSpPr>
        <p:spPr/>
        <p:txBody>
          <a:bodyPr/>
          <a:lstStyle/>
          <a:p>
            <a:fld id="{CDD53589-0CFF-4C42-8E8D-36160734D044}" type="slidenum">
              <a:rPr lang="es-CL" smtClean="0"/>
              <a:t>3</a:t>
            </a:fld>
            <a:endParaRPr lang="es-CL"/>
          </a:p>
        </p:txBody>
      </p:sp>
    </p:spTree>
    <p:extLst>
      <p:ext uri="{BB962C8B-B14F-4D97-AF65-F5344CB8AC3E}">
        <p14:creationId xmlns:p14="http://schemas.microsoft.com/office/powerpoint/2010/main" val="839783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CDD53589-0CFF-4C42-8E8D-36160734D044}" type="slidenum">
              <a:rPr lang="es-CL" smtClean="0"/>
              <a:t>4</a:t>
            </a:fld>
            <a:endParaRPr lang="es-CL"/>
          </a:p>
        </p:txBody>
      </p:sp>
    </p:spTree>
    <p:extLst>
      <p:ext uri="{BB962C8B-B14F-4D97-AF65-F5344CB8AC3E}">
        <p14:creationId xmlns:p14="http://schemas.microsoft.com/office/powerpoint/2010/main" val="3312390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CDD53589-0CFF-4C42-8E8D-36160734D044}" type="slidenum">
              <a:rPr lang="es-CL" smtClean="0"/>
              <a:t>5</a:t>
            </a:fld>
            <a:endParaRPr lang="es-CL"/>
          </a:p>
        </p:txBody>
      </p:sp>
    </p:spTree>
    <p:extLst>
      <p:ext uri="{BB962C8B-B14F-4D97-AF65-F5344CB8AC3E}">
        <p14:creationId xmlns:p14="http://schemas.microsoft.com/office/powerpoint/2010/main" val="2949976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3EAFE8-471F-F205-276E-C11CA121D12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CC1A07A-955A-3B98-221F-F29016D6E8A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F28DDD3-D64E-8D90-030D-8AF1701668FA}"/>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7652B8F5-25F1-415E-528D-10A810669AFA}"/>
              </a:ext>
            </a:extLst>
          </p:cNvPr>
          <p:cNvSpPr>
            <a:spLocks noGrp="1"/>
          </p:cNvSpPr>
          <p:nvPr>
            <p:ph type="sldNum" sz="quarter" idx="5"/>
          </p:nvPr>
        </p:nvSpPr>
        <p:spPr/>
        <p:txBody>
          <a:bodyPr/>
          <a:lstStyle/>
          <a:p>
            <a:fld id="{CDD53589-0CFF-4C42-8E8D-36160734D044}" type="slidenum">
              <a:rPr lang="es-CL" smtClean="0"/>
              <a:t>6</a:t>
            </a:fld>
            <a:endParaRPr lang="es-CL"/>
          </a:p>
        </p:txBody>
      </p:sp>
    </p:spTree>
    <p:extLst>
      <p:ext uri="{BB962C8B-B14F-4D97-AF65-F5344CB8AC3E}">
        <p14:creationId xmlns:p14="http://schemas.microsoft.com/office/powerpoint/2010/main" val="34704793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0FDC41-BFB8-BC11-D096-A72F9DA1743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EB04CC9-F477-E586-B312-55E10A88250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E59A0DC-00C1-7881-FCBA-F258FF45DFC0}"/>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4CA738DB-C9C8-8B1B-B2D8-CF14407A1E13}"/>
              </a:ext>
            </a:extLst>
          </p:cNvPr>
          <p:cNvSpPr>
            <a:spLocks noGrp="1"/>
          </p:cNvSpPr>
          <p:nvPr>
            <p:ph type="sldNum" sz="quarter" idx="5"/>
          </p:nvPr>
        </p:nvSpPr>
        <p:spPr/>
        <p:txBody>
          <a:bodyPr/>
          <a:lstStyle/>
          <a:p>
            <a:fld id="{CDD53589-0CFF-4C42-8E8D-36160734D044}" type="slidenum">
              <a:rPr lang="es-CL" smtClean="0"/>
              <a:t>7</a:t>
            </a:fld>
            <a:endParaRPr lang="es-CL"/>
          </a:p>
        </p:txBody>
      </p:sp>
    </p:spTree>
    <p:extLst>
      <p:ext uri="{BB962C8B-B14F-4D97-AF65-F5344CB8AC3E}">
        <p14:creationId xmlns:p14="http://schemas.microsoft.com/office/powerpoint/2010/main" val="1977151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CDD53589-0CFF-4C42-8E8D-36160734D044}" type="slidenum">
              <a:rPr lang="es-CL" smtClean="0"/>
              <a:t>8</a:t>
            </a:fld>
            <a:endParaRPr lang="es-CL"/>
          </a:p>
        </p:txBody>
      </p:sp>
    </p:spTree>
    <p:extLst>
      <p:ext uri="{BB962C8B-B14F-4D97-AF65-F5344CB8AC3E}">
        <p14:creationId xmlns:p14="http://schemas.microsoft.com/office/powerpoint/2010/main" val="18220952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CDD53589-0CFF-4C42-8E8D-36160734D044}" type="slidenum">
              <a:rPr lang="es-CL" smtClean="0"/>
              <a:t>9</a:t>
            </a:fld>
            <a:endParaRPr lang="es-CL"/>
          </a:p>
        </p:txBody>
      </p:sp>
    </p:spTree>
    <p:extLst>
      <p:ext uri="{BB962C8B-B14F-4D97-AF65-F5344CB8AC3E}">
        <p14:creationId xmlns:p14="http://schemas.microsoft.com/office/powerpoint/2010/main" val="28022099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sp>
        <p:nvSpPr>
          <p:cNvPr id="4" name="Marcador de número de diapositiva 5">
            <a:extLst>
              <a:ext uri="{FF2B5EF4-FFF2-40B4-BE49-F238E27FC236}">
                <a16:creationId xmlns:a16="http://schemas.microsoft.com/office/drawing/2014/main" id="{A50A3A86-DA37-62C5-D8A6-539FEBDD8BE2}"/>
              </a:ext>
            </a:extLst>
          </p:cNvPr>
          <p:cNvSpPr>
            <a:spLocks noGrp="1"/>
          </p:cNvSpPr>
          <p:nvPr>
            <p:ph type="sldNum" sz="quarter" idx="4"/>
          </p:nvPr>
        </p:nvSpPr>
        <p:spPr>
          <a:xfrm>
            <a:off x="11417299" y="6374469"/>
            <a:ext cx="774701" cy="365125"/>
          </a:xfrm>
          <a:prstGeom prst="rect">
            <a:avLst/>
          </a:prstGeom>
        </p:spPr>
        <p:txBody>
          <a:bodyPr vert="horz" lIns="91440" tIns="45720" rIns="91440" bIns="45720" rtlCol="0" anchor="ctr"/>
          <a:lstStyle>
            <a:lvl1pPr algn="ctr">
              <a:defRPr sz="1000" b="1" i="0">
                <a:solidFill>
                  <a:schemeClr val="accent1"/>
                </a:solidFill>
                <a:latin typeface="Montserrat" pitchFamily="2" charset="77"/>
              </a:defRPr>
            </a:lvl1pPr>
          </a:lstStyle>
          <a:p>
            <a:r>
              <a:rPr lang="es-CL"/>
              <a:t>| </a:t>
            </a:r>
            <a:fld id="{7FD00258-9FF3-104F-B9FD-5624932679BF}" type="slidenum">
              <a:rPr lang="es-CL" smtClean="0">
                <a:solidFill>
                  <a:schemeClr val="tx1">
                    <a:lumMod val="60000"/>
                    <a:lumOff val="40000"/>
                  </a:schemeClr>
                </a:solidFill>
              </a:rPr>
              <a:pPr/>
              <a:t>‹Nº›</a:t>
            </a:fld>
            <a:endParaRPr lang="es-CL">
              <a:solidFill>
                <a:schemeClr val="tx1">
                  <a:lumMod val="60000"/>
                  <a:lumOff val="40000"/>
                </a:schemeClr>
              </a:solidFill>
            </a:endParaRPr>
          </a:p>
        </p:txBody>
      </p:sp>
      <p:pic>
        <p:nvPicPr>
          <p:cNvPr id="2" name="Imagen 1">
            <a:extLst>
              <a:ext uri="{FF2B5EF4-FFF2-40B4-BE49-F238E27FC236}">
                <a16:creationId xmlns:a16="http://schemas.microsoft.com/office/drawing/2014/main" id="{FD5A3BDD-42FE-733D-B5FF-40BB9A6A42F0}"/>
              </a:ext>
            </a:extLst>
          </p:cNvPr>
          <p:cNvPicPr>
            <a:picLocks noChangeAspect="1"/>
          </p:cNvPicPr>
          <p:nvPr userDrawn="1"/>
        </p:nvPicPr>
        <p:blipFill>
          <a:blip r:embed="rId2"/>
          <a:stretch>
            <a:fillRect/>
          </a:stretch>
        </p:blipFill>
        <p:spPr>
          <a:xfrm>
            <a:off x="10071935" y="242386"/>
            <a:ext cx="1905000" cy="445738"/>
          </a:xfrm>
          <a:prstGeom prst="rect">
            <a:avLst/>
          </a:prstGeom>
        </p:spPr>
      </p:pic>
      <p:sp>
        <p:nvSpPr>
          <p:cNvPr id="3" name="Título 1">
            <a:extLst>
              <a:ext uri="{FF2B5EF4-FFF2-40B4-BE49-F238E27FC236}">
                <a16:creationId xmlns:a16="http://schemas.microsoft.com/office/drawing/2014/main" id="{19D92AB0-D65A-2B0C-DCBB-5B0EA5D0B573}"/>
              </a:ext>
            </a:extLst>
          </p:cNvPr>
          <p:cNvSpPr txBox="1">
            <a:spLocks/>
          </p:cNvSpPr>
          <p:nvPr userDrawn="1"/>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tx2"/>
                </a:solidFill>
                <a:latin typeface="Poppins" pitchFamily="2" charset="77"/>
                <a:cs typeface="Poppins" pitchFamily="2" charset="77"/>
              </a:rPr>
              <a:t>Earning</a:t>
            </a:r>
            <a:r>
              <a:rPr lang="es-MX" sz="800" b="1">
                <a:solidFill>
                  <a:schemeClr val="tx2"/>
                </a:solidFill>
                <a:latin typeface="Poppins" pitchFamily="2" charset="77"/>
                <a:cs typeface="Poppins" pitchFamily="2" charset="77"/>
              </a:rPr>
              <a:t> </a:t>
            </a:r>
            <a:r>
              <a:rPr lang="es-MX" sz="800" b="1" err="1">
                <a:solidFill>
                  <a:schemeClr val="tx2"/>
                </a:solidFill>
                <a:latin typeface="Poppins" pitchFamily="2" charset="77"/>
                <a:cs typeface="Poppins" pitchFamily="2" charset="77"/>
              </a:rPr>
              <a:t>Presentation</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First</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Quarter</a:t>
            </a:r>
            <a:r>
              <a:rPr lang="es-MX" sz="800" b="0">
                <a:solidFill>
                  <a:schemeClr val="tx2"/>
                </a:solidFill>
                <a:latin typeface="Poppins" pitchFamily="2" charset="77"/>
                <a:cs typeface="Poppins" pitchFamily="2" charset="77"/>
              </a:rPr>
              <a:t> 2025</a:t>
            </a:r>
            <a:endParaRPr lang="es-CL" sz="800" b="0">
              <a:solidFill>
                <a:schemeClr val="tx2"/>
              </a:solidFill>
              <a:latin typeface="Poppins" pitchFamily="2" charset="77"/>
              <a:cs typeface="Poppins" pitchFamily="2" charset="77"/>
            </a:endParaRPr>
          </a:p>
        </p:txBody>
      </p:sp>
    </p:spTree>
    <p:extLst>
      <p:ext uri="{BB962C8B-B14F-4D97-AF65-F5344CB8AC3E}">
        <p14:creationId xmlns:p14="http://schemas.microsoft.com/office/powerpoint/2010/main" val="42456270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Diapositiva de títul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6C807AF8-0EEB-C44F-FE1C-F3987F32A8DD}"/>
              </a:ext>
            </a:extLst>
          </p:cNvPr>
          <p:cNvSpPr/>
          <p:nvPr userDrawn="1"/>
        </p:nvSpPr>
        <p:spPr>
          <a:xfrm>
            <a:off x="0" y="0"/>
            <a:ext cx="12192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Marcador de número de diapositiva 5">
            <a:extLst>
              <a:ext uri="{FF2B5EF4-FFF2-40B4-BE49-F238E27FC236}">
                <a16:creationId xmlns:a16="http://schemas.microsoft.com/office/drawing/2014/main" id="{A50A3A86-DA37-62C5-D8A6-539FEBDD8BE2}"/>
              </a:ext>
            </a:extLst>
          </p:cNvPr>
          <p:cNvSpPr>
            <a:spLocks noGrp="1"/>
          </p:cNvSpPr>
          <p:nvPr>
            <p:ph type="sldNum" sz="quarter" idx="4"/>
          </p:nvPr>
        </p:nvSpPr>
        <p:spPr>
          <a:xfrm>
            <a:off x="11417299" y="6374469"/>
            <a:ext cx="774701" cy="365125"/>
          </a:xfrm>
          <a:prstGeom prst="rect">
            <a:avLst/>
          </a:prstGeom>
        </p:spPr>
        <p:txBody>
          <a:bodyPr vert="horz" lIns="91440" tIns="45720" rIns="91440" bIns="45720" rtlCol="0" anchor="ctr"/>
          <a:lstStyle>
            <a:lvl1pPr algn="ctr">
              <a:defRPr sz="1000" b="1" i="0">
                <a:solidFill>
                  <a:schemeClr val="accent1"/>
                </a:solidFill>
                <a:latin typeface="Montserrat" pitchFamily="2" charset="77"/>
              </a:defRPr>
            </a:lvl1pPr>
          </a:lstStyle>
          <a:p>
            <a:r>
              <a:rPr lang="es-CL"/>
              <a:t>| </a:t>
            </a:r>
            <a:fld id="{7FD00258-9FF3-104F-B9FD-5624932679BF}" type="slidenum">
              <a:rPr lang="es-CL" smtClean="0">
                <a:solidFill>
                  <a:schemeClr val="tx1">
                    <a:lumMod val="60000"/>
                    <a:lumOff val="40000"/>
                  </a:schemeClr>
                </a:solidFill>
              </a:rPr>
              <a:pPr/>
              <a:t>‹Nº›</a:t>
            </a:fld>
            <a:endParaRPr lang="es-CL">
              <a:solidFill>
                <a:schemeClr val="tx1">
                  <a:lumMod val="60000"/>
                  <a:lumOff val="40000"/>
                </a:schemeClr>
              </a:solidFill>
            </a:endParaRPr>
          </a:p>
        </p:txBody>
      </p:sp>
      <p:pic>
        <p:nvPicPr>
          <p:cNvPr id="3" name="Imagen 2">
            <a:extLst>
              <a:ext uri="{FF2B5EF4-FFF2-40B4-BE49-F238E27FC236}">
                <a16:creationId xmlns:a16="http://schemas.microsoft.com/office/drawing/2014/main" id="{EC622465-42E1-5E42-7AFB-07D6D65C39FB}"/>
              </a:ext>
            </a:extLst>
          </p:cNvPr>
          <p:cNvPicPr>
            <a:picLocks noChangeAspect="1"/>
          </p:cNvPicPr>
          <p:nvPr userDrawn="1"/>
        </p:nvPicPr>
        <p:blipFill>
          <a:blip r:embed="rId2"/>
          <a:stretch>
            <a:fillRect/>
          </a:stretch>
        </p:blipFill>
        <p:spPr>
          <a:xfrm>
            <a:off x="10071935" y="242386"/>
            <a:ext cx="1905000" cy="445738"/>
          </a:xfrm>
          <a:prstGeom prst="rect">
            <a:avLst/>
          </a:prstGeom>
        </p:spPr>
      </p:pic>
      <p:sp>
        <p:nvSpPr>
          <p:cNvPr id="5" name="Título 1">
            <a:extLst>
              <a:ext uri="{FF2B5EF4-FFF2-40B4-BE49-F238E27FC236}">
                <a16:creationId xmlns:a16="http://schemas.microsoft.com/office/drawing/2014/main" id="{05D07FED-E51F-BCA9-C863-63704C3A41FF}"/>
              </a:ext>
            </a:extLst>
          </p:cNvPr>
          <p:cNvSpPr txBox="1">
            <a:spLocks/>
          </p:cNvSpPr>
          <p:nvPr userDrawn="1"/>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tx2"/>
                </a:solidFill>
                <a:latin typeface="Poppins" pitchFamily="2" charset="77"/>
                <a:cs typeface="Poppins" pitchFamily="2" charset="77"/>
              </a:rPr>
              <a:t>Earning</a:t>
            </a:r>
            <a:r>
              <a:rPr lang="es-MX" sz="800" b="1">
                <a:solidFill>
                  <a:schemeClr val="tx2"/>
                </a:solidFill>
                <a:latin typeface="Poppins" pitchFamily="2" charset="77"/>
                <a:cs typeface="Poppins" pitchFamily="2" charset="77"/>
              </a:rPr>
              <a:t> </a:t>
            </a:r>
            <a:r>
              <a:rPr lang="es-MX" sz="800" b="1" err="1">
                <a:solidFill>
                  <a:schemeClr val="tx2"/>
                </a:solidFill>
                <a:latin typeface="Poppins" pitchFamily="2" charset="77"/>
                <a:cs typeface="Poppins" pitchFamily="2" charset="77"/>
              </a:rPr>
              <a:t>Presentation</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First</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Quarter</a:t>
            </a:r>
            <a:r>
              <a:rPr lang="es-MX" sz="800" b="0">
                <a:solidFill>
                  <a:schemeClr val="tx2"/>
                </a:solidFill>
                <a:latin typeface="Poppins" pitchFamily="2" charset="77"/>
                <a:cs typeface="Poppins" pitchFamily="2" charset="77"/>
              </a:rPr>
              <a:t> 2025</a:t>
            </a:r>
            <a:endParaRPr lang="es-CL" sz="800" b="0">
              <a:solidFill>
                <a:schemeClr val="tx2"/>
              </a:solidFill>
              <a:latin typeface="Poppins" pitchFamily="2" charset="77"/>
              <a:cs typeface="Poppins" pitchFamily="2" charset="77"/>
            </a:endParaRPr>
          </a:p>
        </p:txBody>
      </p:sp>
    </p:spTree>
    <p:extLst>
      <p:ext uri="{BB962C8B-B14F-4D97-AF65-F5344CB8AC3E}">
        <p14:creationId xmlns:p14="http://schemas.microsoft.com/office/powerpoint/2010/main" val="30289474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Diapositiva de títul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6C807AF8-0EEB-C44F-FE1C-F3987F32A8DD}"/>
              </a:ext>
            </a:extLst>
          </p:cNvPr>
          <p:cNvSpPr/>
          <p:nvPr userDrawn="1"/>
        </p:nvSpPr>
        <p:spPr>
          <a:xfrm>
            <a:off x="0" y="0"/>
            <a:ext cx="12192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Marcador de número de diapositiva 5">
            <a:extLst>
              <a:ext uri="{FF2B5EF4-FFF2-40B4-BE49-F238E27FC236}">
                <a16:creationId xmlns:a16="http://schemas.microsoft.com/office/drawing/2014/main" id="{A50A3A86-DA37-62C5-D8A6-539FEBDD8BE2}"/>
              </a:ext>
            </a:extLst>
          </p:cNvPr>
          <p:cNvSpPr>
            <a:spLocks noGrp="1"/>
          </p:cNvSpPr>
          <p:nvPr>
            <p:ph type="sldNum" sz="quarter" idx="4"/>
          </p:nvPr>
        </p:nvSpPr>
        <p:spPr>
          <a:xfrm>
            <a:off x="11417299" y="6374469"/>
            <a:ext cx="774701" cy="365125"/>
          </a:xfrm>
          <a:prstGeom prst="rect">
            <a:avLst/>
          </a:prstGeom>
        </p:spPr>
        <p:txBody>
          <a:bodyPr vert="horz" lIns="91440" tIns="45720" rIns="91440" bIns="45720" rtlCol="0" anchor="ctr"/>
          <a:lstStyle>
            <a:lvl1pPr algn="ctr">
              <a:defRPr sz="1000" b="1" i="0">
                <a:solidFill>
                  <a:schemeClr val="accent1"/>
                </a:solidFill>
                <a:latin typeface="Montserrat" pitchFamily="2" charset="77"/>
              </a:defRPr>
            </a:lvl1pPr>
          </a:lstStyle>
          <a:p>
            <a:r>
              <a:rPr lang="es-CL"/>
              <a:t>| </a:t>
            </a:r>
            <a:fld id="{7FD00258-9FF3-104F-B9FD-5624932679BF}" type="slidenum">
              <a:rPr lang="es-CL" smtClean="0">
                <a:solidFill>
                  <a:schemeClr val="tx1">
                    <a:lumMod val="60000"/>
                    <a:lumOff val="40000"/>
                  </a:schemeClr>
                </a:solidFill>
              </a:rPr>
              <a:pPr/>
              <a:t>‹Nº›</a:t>
            </a:fld>
            <a:endParaRPr lang="es-CL">
              <a:solidFill>
                <a:schemeClr val="tx1">
                  <a:lumMod val="60000"/>
                  <a:lumOff val="40000"/>
                </a:schemeClr>
              </a:solidFill>
            </a:endParaRPr>
          </a:p>
        </p:txBody>
      </p:sp>
      <p:pic>
        <p:nvPicPr>
          <p:cNvPr id="8" name="Imagen 7">
            <a:extLst>
              <a:ext uri="{FF2B5EF4-FFF2-40B4-BE49-F238E27FC236}">
                <a16:creationId xmlns:a16="http://schemas.microsoft.com/office/drawing/2014/main" id="{AB2ED791-3192-AFE6-7B9F-6CFA83162EF1}"/>
              </a:ext>
            </a:extLst>
          </p:cNvPr>
          <p:cNvPicPr>
            <a:picLocks noChangeAspect="1"/>
          </p:cNvPicPr>
          <p:nvPr userDrawn="1"/>
        </p:nvPicPr>
        <p:blipFill>
          <a:blip r:embed="rId2"/>
          <a:stretch>
            <a:fillRect/>
          </a:stretch>
        </p:blipFill>
        <p:spPr>
          <a:xfrm>
            <a:off x="10218320" y="403802"/>
            <a:ext cx="1586329" cy="151984"/>
          </a:xfrm>
          <a:prstGeom prst="rect">
            <a:avLst/>
          </a:prstGeom>
        </p:spPr>
      </p:pic>
    </p:spTree>
    <p:extLst>
      <p:ext uri="{BB962C8B-B14F-4D97-AF65-F5344CB8AC3E}">
        <p14:creationId xmlns:p14="http://schemas.microsoft.com/office/powerpoint/2010/main" val="12567306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Diapositiva de títul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6C807AF8-0EEB-C44F-FE1C-F3987F32A8DD}"/>
              </a:ext>
            </a:extLst>
          </p:cNvPr>
          <p:cNvSpPr/>
          <p:nvPr userDrawn="1"/>
        </p:nvSpPr>
        <p:spPr>
          <a:xfrm>
            <a:off x="0" y="0"/>
            <a:ext cx="12192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Marcador de número de diapositiva 5">
            <a:extLst>
              <a:ext uri="{FF2B5EF4-FFF2-40B4-BE49-F238E27FC236}">
                <a16:creationId xmlns:a16="http://schemas.microsoft.com/office/drawing/2014/main" id="{A50A3A86-DA37-62C5-D8A6-539FEBDD8BE2}"/>
              </a:ext>
            </a:extLst>
          </p:cNvPr>
          <p:cNvSpPr>
            <a:spLocks noGrp="1"/>
          </p:cNvSpPr>
          <p:nvPr>
            <p:ph type="sldNum" sz="quarter" idx="4"/>
          </p:nvPr>
        </p:nvSpPr>
        <p:spPr>
          <a:xfrm>
            <a:off x="11417299" y="6374469"/>
            <a:ext cx="774701" cy="365125"/>
          </a:xfrm>
          <a:prstGeom prst="rect">
            <a:avLst/>
          </a:prstGeom>
        </p:spPr>
        <p:txBody>
          <a:bodyPr vert="horz" lIns="91440" tIns="45720" rIns="91440" bIns="45720" rtlCol="0" anchor="ctr"/>
          <a:lstStyle>
            <a:lvl1pPr algn="ctr">
              <a:defRPr sz="1000" b="1" i="0">
                <a:solidFill>
                  <a:schemeClr val="accent1"/>
                </a:solidFill>
                <a:latin typeface="Montserrat" pitchFamily="2" charset="77"/>
              </a:defRPr>
            </a:lvl1pPr>
          </a:lstStyle>
          <a:p>
            <a:r>
              <a:rPr lang="es-CL"/>
              <a:t>| </a:t>
            </a:r>
            <a:fld id="{7FD00258-9FF3-104F-B9FD-5624932679BF}" type="slidenum">
              <a:rPr lang="es-CL" smtClean="0">
                <a:solidFill>
                  <a:schemeClr val="tx1">
                    <a:lumMod val="60000"/>
                    <a:lumOff val="40000"/>
                  </a:schemeClr>
                </a:solidFill>
              </a:rPr>
              <a:pPr/>
              <a:t>‹Nº›</a:t>
            </a:fld>
            <a:endParaRPr lang="es-CL">
              <a:solidFill>
                <a:schemeClr val="tx1">
                  <a:lumMod val="60000"/>
                  <a:lumOff val="40000"/>
                </a:schemeClr>
              </a:solidFill>
            </a:endParaRPr>
          </a:p>
        </p:txBody>
      </p:sp>
      <p:pic>
        <p:nvPicPr>
          <p:cNvPr id="3" name="Imagen 2">
            <a:extLst>
              <a:ext uri="{FF2B5EF4-FFF2-40B4-BE49-F238E27FC236}">
                <a16:creationId xmlns:a16="http://schemas.microsoft.com/office/drawing/2014/main" id="{ACAA730C-F7D0-4A96-E4ED-D86CD63FFC90}"/>
              </a:ext>
            </a:extLst>
          </p:cNvPr>
          <p:cNvPicPr>
            <a:picLocks noChangeAspect="1"/>
          </p:cNvPicPr>
          <p:nvPr userDrawn="1"/>
        </p:nvPicPr>
        <p:blipFill>
          <a:blip r:embed="rId2"/>
          <a:stretch>
            <a:fillRect/>
          </a:stretch>
        </p:blipFill>
        <p:spPr>
          <a:xfrm>
            <a:off x="10218320" y="403802"/>
            <a:ext cx="1586329" cy="151984"/>
          </a:xfrm>
          <a:prstGeom prst="rect">
            <a:avLst/>
          </a:prstGeom>
        </p:spPr>
      </p:pic>
    </p:spTree>
    <p:extLst>
      <p:ext uri="{BB962C8B-B14F-4D97-AF65-F5344CB8AC3E}">
        <p14:creationId xmlns:p14="http://schemas.microsoft.com/office/powerpoint/2010/main" val="18863604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9C8E305-1817-9E9C-EDA2-25EC1ADEF7AB}"/>
              </a:ext>
            </a:extLst>
          </p:cNvPr>
          <p:cNvGraphicFramePr>
            <a:graphicFrameLocks noChangeAspect="1"/>
          </p:cNvGraphicFramePr>
          <p:nvPr userDrawn="1">
            <p:custDataLst>
              <p:tags r:id="rId6"/>
            </p:custDataLst>
            <p:extLst>
              <p:ext uri="{D42A27DB-BD31-4B8C-83A1-F6EECF244321}">
                <p14:modId xmlns:p14="http://schemas.microsoft.com/office/powerpoint/2010/main" val="3271379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7" imgW="395" imgH="396" progId="TCLayout.ActiveDocument.1">
                  <p:embed/>
                </p:oleObj>
              </mc:Choice>
              <mc:Fallback>
                <p:oleObj name="Diapositiva de think-cell" r:id="rId7" imgW="395" imgH="396" progId="TCLayout.ActiveDocument.1">
                  <p:embed/>
                  <p:pic>
                    <p:nvPicPr>
                      <p:cNvPr id="8" name="think-cell data - do not delete" hidden="1">
                        <a:extLst>
                          <a:ext uri="{FF2B5EF4-FFF2-40B4-BE49-F238E27FC236}">
                            <a16:creationId xmlns:a16="http://schemas.microsoft.com/office/drawing/2014/main" id="{B9C8E305-1817-9E9C-EDA2-25EC1ADEF7A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F03A626F-2B9D-3C4F-A480-4610CD97CBF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7E48156E-6A95-A64B-8520-CD11DA6C5E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id="{621F395E-99A8-8045-BDE2-D6B3216AC8F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s-CL"/>
          </a:p>
        </p:txBody>
      </p:sp>
      <p:sp>
        <p:nvSpPr>
          <p:cNvPr id="5" name="Marcador de pie de página 4">
            <a:extLst>
              <a:ext uri="{FF2B5EF4-FFF2-40B4-BE49-F238E27FC236}">
                <a16:creationId xmlns:a16="http://schemas.microsoft.com/office/drawing/2014/main" id="{05F0CB45-4041-EC43-82F1-F9CC4D91432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p>
        </p:txBody>
      </p:sp>
      <p:sp>
        <p:nvSpPr>
          <p:cNvPr id="6" name="Marcador de número de diapositiva 5">
            <a:extLst>
              <a:ext uri="{FF2B5EF4-FFF2-40B4-BE49-F238E27FC236}">
                <a16:creationId xmlns:a16="http://schemas.microsoft.com/office/drawing/2014/main" id="{980F6D10-0BFA-7277-B23D-52BB6BFFFA54}"/>
              </a:ext>
            </a:extLst>
          </p:cNvPr>
          <p:cNvSpPr>
            <a:spLocks noGrp="1"/>
          </p:cNvSpPr>
          <p:nvPr>
            <p:ph type="sldNum" sz="quarter" idx="4"/>
          </p:nvPr>
        </p:nvSpPr>
        <p:spPr>
          <a:xfrm>
            <a:off x="11294009" y="6191963"/>
            <a:ext cx="774701" cy="365125"/>
          </a:xfrm>
          <a:prstGeom prst="rect">
            <a:avLst/>
          </a:prstGeom>
        </p:spPr>
        <p:txBody>
          <a:bodyPr vert="horz" lIns="91440" tIns="45720" rIns="91440" bIns="45720" rtlCol="0" anchor="ctr"/>
          <a:lstStyle>
            <a:lvl1pPr algn="ctr">
              <a:defRPr sz="1000" b="1" i="0">
                <a:solidFill>
                  <a:schemeClr val="accent1"/>
                </a:solidFill>
                <a:latin typeface="Montserrat" pitchFamily="2" charset="77"/>
              </a:defRPr>
            </a:lvl1pPr>
          </a:lstStyle>
          <a:p>
            <a:r>
              <a:rPr lang="es-CL"/>
              <a:t>| </a:t>
            </a:r>
            <a:fld id="{7FD00258-9FF3-104F-B9FD-5624932679BF}" type="slidenum">
              <a:rPr lang="es-CL" smtClean="0"/>
              <a:pPr/>
              <a:t>‹Nº›</a:t>
            </a:fld>
            <a:endParaRPr lang="es-CL"/>
          </a:p>
        </p:txBody>
      </p:sp>
      <p:sp>
        <p:nvSpPr>
          <p:cNvPr id="7" name="Título 1">
            <a:extLst>
              <a:ext uri="{FF2B5EF4-FFF2-40B4-BE49-F238E27FC236}">
                <a16:creationId xmlns:a16="http://schemas.microsoft.com/office/drawing/2014/main" id="{8551F8BC-1A92-8FE9-4A37-2DF092525DA5}"/>
              </a:ext>
            </a:extLst>
          </p:cNvPr>
          <p:cNvSpPr txBox="1">
            <a:spLocks/>
          </p:cNvSpPr>
          <p:nvPr userDrawn="1"/>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tx2"/>
                </a:solidFill>
                <a:latin typeface="Poppins" pitchFamily="2" charset="77"/>
                <a:cs typeface="Poppins" pitchFamily="2" charset="77"/>
              </a:rPr>
              <a:t>Earning</a:t>
            </a:r>
            <a:r>
              <a:rPr lang="es-MX" sz="800" b="1">
                <a:solidFill>
                  <a:schemeClr val="tx2"/>
                </a:solidFill>
                <a:latin typeface="Poppins" pitchFamily="2" charset="77"/>
                <a:cs typeface="Poppins" pitchFamily="2" charset="77"/>
              </a:rPr>
              <a:t> </a:t>
            </a:r>
            <a:r>
              <a:rPr lang="es-MX" sz="800" b="1" err="1">
                <a:solidFill>
                  <a:schemeClr val="tx2"/>
                </a:solidFill>
                <a:latin typeface="Poppins" pitchFamily="2" charset="77"/>
                <a:cs typeface="Poppins" pitchFamily="2" charset="77"/>
              </a:rPr>
              <a:t>Presentation</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First</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Quarter</a:t>
            </a:r>
            <a:r>
              <a:rPr lang="es-MX" sz="800" b="0">
                <a:solidFill>
                  <a:schemeClr val="tx2"/>
                </a:solidFill>
                <a:latin typeface="Poppins" pitchFamily="2" charset="77"/>
                <a:cs typeface="Poppins" pitchFamily="2" charset="77"/>
              </a:rPr>
              <a:t> 2025</a:t>
            </a:r>
            <a:endParaRPr lang="es-CL" sz="800" b="0">
              <a:solidFill>
                <a:schemeClr val="tx2"/>
              </a:solidFill>
              <a:latin typeface="Poppins" pitchFamily="2" charset="77"/>
              <a:cs typeface="Poppins" pitchFamily="2" charset="77"/>
            </a:endParaRPr>
          </a:p>
        </p:txBody>
      </p:sp>
    </p:spTree>
    <p:extLst>
      <p:ext uri="{BB962C8B-B14F-4D97-AF65-F5344CB8AC3E}">
        <p14:creationId xmlns:p14="http://schemas.microsoft.com/office/powerpoint/2010/main" val="1357787719"/>
      </p:ext>
    </p:extLst>
  </p:cSld>
  <p:clrMap bg1="lt1" tx1="dk1" bg2="lt2" tx2="dk2" accent1="accent1" accent2="accent2" accent3="accent3" accent4="accent4" accent5="accent5" accent6="accent6" hlink="hlink" folHlink="folHlink"/>
  <p:sldLayoutIdLst>
    <p:sldLayoutId id="2147483649" r:id="rId1"/>
    <p:sldLayoutId id="2147483653" r:id="rId2"/>
    <p:sldLayoutId id="2147483654" r:id="rId3"/>
    <p:sldLayoutId id="2147483655"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7.jpeg"/><Relationship Id="rId2" Type="http://schemas.openxmlformats.org/officeDocument/2006/relationships/slideLayout" Target="../slideLayouts/slideLayout1.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6.emf"/></Relationships>
</file>

<file path=ppt/slides/_rels/slide11.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image" Target="../media/image18.emf"/><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image" Target="../media/image1.emf"/><Relationship Id="rId2" Type="http://schemas.openxmlformats.org/officeDocument/2006/relationships/tags" Target="../tags/tag46.xml"/><Relationship Id="rId16" Type="http://schemas.openxmlformats.org/officeDocument/2006/relationships/oleObject" Target="../embeddings/oleObject8.bin"/><Relationship Id="rId20" Type="http://schemas.openxmlformats.org/officeDocument/2006/relationships/chart" Target="../charts/chart4.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5" Type="http://schemas.openxmlformats.org/officeDocument/2006/relationships/notesSlide" Target="../notesSlides/notesSlide11.xml"/><Relationship Id="rId10" Type="http://schemas.openxmlformats.org/officeDocument/2006/relationships/tags" Target="../tags/tag54.xml"/><Relationship Id="rId19" Type="http://schemas.openxmlformats.org/officeDocument/2006/relationships/chart" Target="../charts/chart3.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tags" Target="../tags/tag75.xml"/><Relationship Id="rId26" Type="http://schemas.openxmlformats.org/officeDocument/2006/relationships/image" Target="../media/image19.png"/><Relationship Id="rId3" Type="http://schemas.openxmlformats.org/officeDocument/2006/relationships/tags" Target="../tags/tag60.xml"/><Relationship Id="rId21" Type="http://schemas.openxmlformats.org/officeDocument/2006/relationships/tags" Target="../tags/tag78.xm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image" Target="../media/image1.emf"/><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29" Type="http://schemas.openxmlformats.org/officeDocument/2006/relationships/chart" Target="../charts/chart5.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24" Type="http://schemas.openxmlformats.org/officeDocument/2006/relationships/oleObject" Target="../embeddings/oleObject9.bin"/><Relationship Id="rId5" Type="http://schemas.openxmlformats.org/officeDocument/2006/relationships/tags" Target="../tags/tag62.xml"/><Relationship Id="rId15" Type="http://schemas.openxmlformats.org/officeDocument/2006/relationships/tags" Target="../tags/tag72.xml"/><Relationship Id="rId23" Type="http://schemas.openxmlformats.org/officeDocument/2006/relationships/notesSlide" Target="../notesSlides/notesSlide12.xml"/><Relationship Id="rId28" Type="http://schemas.openxmlformats.org/officeDocument/2006/relationships/image" Target="../media/image21.emf"/><Relationship Id="rId10" Type="http://schemas.openxmlformats.org/officeDocument/2006/relationships/tags" Target="../tags/tag67.xml"/><Relationship Id="rId19" Type="http://schemas.openxmlformats.org/officeDocument/2006/relationships/tags" Target="../tags/tag76.xml"/><Relationship Id="rId31" Type="http://schemas.openxmlformats.org/officeDocument/2006/relationships/image" Target="../media/image22.emf"/><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slideLayout" Target="../slideLayouts/slideLayout1.xml"/><Relationship Id="rId27" Type="http://schemas.openxmlformats.org/officeDocument/2006/relationships/image" Target="../media/image20.png"/><Relationship Id="rId30" Type="http://schemas.openxmlformats.org/officeDocument/2006/relationships/chart" Target="../charts/chart6.xml"/></Relationships>
</file>

<file path=ppt/slides/_rels/slide13.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image" Target="../media/image20.png"/><Relationship Id="rId3" Type="http://schemas.openxmlformats.org/officeDocument/2006/relationships/tags" Target="../tags/tag81.xml"/><Relationship Id="rId21" Type="http://schemas.openxmlformats.org/officeDocument/2006/relationships/tags" Target="../tags/tag99.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image" Target="../media/image1.emf"/><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tags" Target="../tags/tag98.xml"/><Relationship Id="rId29" Type="http://schemas.openxmlformats.org/officeDocument/2006/relationships/image" Target="../media/image22.emf"/><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24" Type="http://schemas.openxmlformats.org/officeDocument/2006/relationships/oleObject" Target="../embeddings/oleObject10.bin"/><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notesSlide" Target="../notesSlides/notesSlide13.xml"/><Relationship Id="rId28" Type="http://schemas.openxmlformats.org/officeDocument/2006/relationships/image" Target="../media/image21.emf"/><Relationship Id="rId10" Type="http://schemas.openxmlformats.org/officeDocument/2006/relationships/tags" Target="../tags/tag88.xml"/><Relationship Id="rId19" Type="http://schemas.openxmlformats.org/officeDocument/2006/relationships/tags" Target="../tags/tag97.xml"/><Relationship Id="rId31" Type="http://schemas.openxmlformats.org/officeDocument/2006/relationships/chart" Target="../charts/chart8.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slideLayout" Target="../slideLayouts/slideLayout1.xml"/><Relationship Id="rId27" Type="http://schemas.openxmlformats.org/officeDocument/2006/relationships/image" Target="../media/image23.png"/><Relationship Id="rId30" Type="http://schemas.openxmlformats.org/officeDocument/2006/relationships/chart" Target="../charts/chart7.xml"/></Relationships>
</file>

<file path=ppt/slides/_rels/slide14.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slideLayout" Target="../slideLayouts/slideLayout1.xml"/><Relationship Id="rId26" Type="http://schemas.openxmlformats.org/officeDocument/2006/relationships/image" Target="../media/image22.emf"/><Relationship Id="rId3" Type="http://schemas.openxmlformats.org/officeDocument/2006/relationships/tags" Target="../tags/tag102.xml"/><Relationship Id="rId21" Type="http://schemas.openxmlformats.org/officeDocument/2006/relationships/image" Target="../media/image1.emf"/><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tags" Target="../tags/tag116.xml"/><Relationship Id="rId25" Type="http://schemas.openxmlformats.org/officeDocument/2006/relationships/chart" Target="../charts/chart10.xml"/><Relationship Id="rId2" Type="http://schemas.openxmlformats.org/officeDocument/2006/relationships/tags" Target="../tags/tag101.xml"/><Relationship Id="rId16" Type="http://schemas.openxmlformats.org/officeDocument/2006/relationships/tags" Target="../tags/tag115.xml"/><Relationship Id="rId20" Type="http://schemas.openxmlformats.org/officeDocument/2006/relationships/oleObject" Target="../embeddings/oleObject11.bin"/><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tags" Target="../tags/tag110.xml"/><Relationship Id="rId24" Type="http://schemas.openxmlformats.org/officeDocument/2006/relationships/chart" Target="../charts/chart9.xml"/><Relationship Id="rId5" Type="http://schemas.openxmlformats.org/officeDocument/2006/relationships/tags" Target="../tags/tag104.xml"/><Relationship Id="rId15" Type="http://schemas.openxmlformats.org/officeDocument/2006/relationships/tags" Target="../tags/tag114.xml"/><Relationship Id="rId23" Type="http://schemas.openxmlformats.org/officeDocument/2006/relationships/image" Target="../media/image20.png"/><Relationship Id="rId10" Type="http://schemas.openxmlformats.org/officeDocument/2006/relationships/tags" Target="../tags/tag109.xml"/><Relationship Id="rId19" Type="http://schemas.openxmlformats.org/officeDocument/2006/relationships/notesSlide" Target="../notesSlides/notesSlide14.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 Id="rId22" Type="http://schemas.openxmlformats.org/officeDocument/2006/relationships/image" Target="../media/image24.png"/><Relationship Id="rId27" Type="http://schemas.openxmlformats.org/officeDocument/2006/relationships/image" Target="../media/image21.emf"/></Relationships>
</file>

<file path=ppt/slides/_rels/slide15.xml.rels><?xml version="1.0" encoding="UTF-8" standalone="yes"?>
<Relationships xmlns="http://schemas.openxmlformats.org/package/2006/relationships"><Relationship Id="rId13" Type="http://schemas.openxmlformats.org/officeDocument/2006/relationships/tags" Target="../tags/tag129.xml"/><Relationship Id="rId18" Type="http://schemas.openxmlformats.org/officeDocument/2006/relationships/tags" Target="../tags/tag134.xml"/><Relationship Id="rId26" Type="http://schemas.openxmlformats.org/officeDocument/2006/relationships/notesSlide" Target="../notesSlides/notesSlide15.xml"/><Relationship Id="rId3" Type="http://schemas.openxmlformats.org/officeDocument/2006/relationships/tags" Target="../tags/tag119.xml"/><Relationship Id="rId21" Type="http://schemas.openxmlformats.org/officeDocument/2006/relationships/tags" Target="../tags/tag137.xml"/><Relationship Id="rId34" Type="http://schemas.openxmlformats.org/officeDocument/2006/relationships/image" Target="../media/image13.jpeg"/><Relationship Id="rId7" Type="http://schemas.openxmlformats.org/officeDocument/2006/relationships/tags" Target="../tags/tag123.xml"/><Relationship Id="rId12" Type="http://schemas.openxmlformats.org/officeDocument/2006/relationships/tags" Target="../tags/tag128.xml"/><Relationship Id="rId17" Type="http://schemas.openxmlformats.org/officeDocument/2006/relationships/tags" Target="../tags/tag133.xml"/><Relationship Id="rId25" Type="http://schemas.openxmlformats.org/officeDocument/2006/relationships/slideLayout" Target="../slideLayouts/slideLayout1.xml"/><Relationship Id="rId33" Type="http://schemas.openxmlformats.org/officeDocument/2006/relationships/image" Target="../media/image28.png"/><Relationship Id="rId2" Type="http://schemas.openxmlformats.org/officeDocument/2006/relationships/tags" Target="../tags/tag118.xml"/><Relationship Id="rId16" Type="http://schemas.openxmlformats.org/officeDocument/2006/relationships/tags" Target="../tags/tag132.xml"/><Relationship Id="rId20" Type="http://schemas.openxmlformats.org/officeDocument/2006/relationships/tags" Target="../tags/tag136.xml"/><Relationship Id="rId29" Type="http://schemas.openxmlformats.org/officeDocument/2006/relationships/chart" Target="../charts/chart11.xml"/><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tags" Target="../tags/tag127.xml"/><Relationship Id="rId24" Type="http://schemas.openxmlformats.org/officeDocument/2006/relationships/tags" Target="../tags/tag140.xml"/><Relationship Id="rId32" Type="http://schemas.openxmlformats.org/officeDocument/2006/relationships/image" Target="../media/image27.png"/><Relationship Id="rId5" Type="http://schemas.openxmlformats.org/officeDocument/2006/relationships/tags" Target="../tags/tag121.xml"/><Relationship Id="rId15" Type="http://schemas.openxmlformats.org/officeDocument/2006/relationships/tags" Target="../tags/tag131.xml"/><Relationship Id="rId23" Type="http://schemas.openxmlformats.org/officeDocument/2006/relationships/tags" Target="../tags/tag139.xml"/><Relationship Id="rId28" Type="http://schemas.openxmlformats.org/officeDocument/2006/relationships/image" Target="../media/image1.emf"/><Relationship Id="rId10" Type="http://schemas.openxmlformats.org/officeDocument/2006/relationships/tags" Target="../tags/tag126.xml"/><Relationship Id="rId19" Type="http://schemas.openxmlformats.org/officeDocument/2006/relationships/tags" Target="../tags/tag135.xml"/><Relationship Id="rId31" Type="http://schemas.openxmlformats.org/officeDocument/2006/relationships/image" Target="../media/image26.png"/><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tags" Target="../tags/tag130.xml"/><Relationship Id="rId22" Type="http://schemas.openxmlformats.org/officeDocument/2006/relationships/tags" Target="../tags/tag138.xml"/><Relationship Id="rId27" Type="http://schemas.openxmlformats.org/officeDocument/2006/relationships/oleObject" Target="../embeddings/oleObject12.bin"/><Relationship Id="rId30" Type="http://schemas.openxmlformats.org/officeDocument/2006/relationships/image" Target="../media/image25.png"/><Relationship Id="rId8" Type="http://schemas.openxmlformats.org/officeDocument/2006/relationships/tags" Target="../tags/tag124.xml"/></Relationships>
</file>

<file path=ppt/slides/_rels/slide16.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3" Type="http://schemas.openxmlformats.org/officeDocument/2006/relationships/notesSlide" Target="../notesSlides/notesSlide16.xml"/><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1.xml"/><Relationship Id="rId1" Type="http://schemas.openxmlformats.org/officeDocument/2006/relationships/tags" Target="../tags/tag141.xml"/><Relationship Id="rId6" Type="http://schemas.openxmlformats.org/officeDocument/2006/relationships/image" Target="../media/image29.emf"/><Relationship Id="rId11" Type="http://schemas.openxmlformats.org/officeDocument/2006/relationships/image" Target="../media/image34.png"/><Relationship Id="rId5" Type="http://schemas.openxmlformats.org/officeDocument/2006/relationships/image" Target="../media/image1.emf"/><Relationship Id="rId10" Type="http://schemas.openxmlformats.org/officeDocument/2006/relationships/image" Target="../media/image33.svg"/><Relationship Id="rId4" Type="http://schemas.openxmlformats.org/officeDocument/2006/relationships/oleObject" Target="../embeddings/oleObject13.bin"/><Relationship Id="rId9" Type="http://schemas.openxmlformats.org/officeDocument/2006/relationships/image" Target="../media/image32.png"/><Relationship Id="rId14" Type="http://schemas.openxmlformats.org/officeDocument/2006/relationships/image" Target="../media/image37.sv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ags" Target="../tags/tag142.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8.xml.rels><?xml version="1.0" encoding="UTF-8" standalone="yes"?>
<Relationships xmlns="http://schemas.openxmlformats.org/package/2006/relationships"><Relationship Id="rId13" Type="http://schemas.openxmlformats.org/officeDocument/2006/relationships/tags" Target="../tags/tag155.xml"/><Relationship Id="rId18" Type="http://schemas.openxmlformats.org/officeDocument/2006/relationships/tags" Target="../tags/tag160.xml"/><Relationship Id="rId26" Type="http://schemas.openxmlformats.org/officeDocument/2006/relationships/tags" Target="../tags/tag168.xml"/><Relationship Id="rId39" Type="http://schemas.openxmlformats.org/officeDocument/2006/relationships/notesSlide" Target="../notesSlides/notesSlide18.xml"/><Relationship Id="rId21" Type="http://schemas.openxmlformats.org/officeDocument/2006/relationships/tags" Target="../tags/tag163.xml"/><Relationship Id="rId34" Type="http://schemas.openxmlformats.org/officeDocument/2006/relationships/tags" Target="../tags/tag176.xml"/><Relationship Id="rId42" Type="http://schemas.openxmlformats.org/officeDocument/2006/relationships/chart" Target="../charts/chart12.xml"/><Relationship Id="rId7" Type="http://schemas.openxmlformats.org/officeDocument/2006/relationships/tags" Target="../tags/tag149.xml"/><Relationship Id="rId2" Type="http://schemas.openxmlformats.org/officeDocument/2006/relationships/tags" Target="../tags/tag144.xml"/><Relationship Id="rId16" Type="http://schemas.openxmlformats.org/officeDocument/2006/relationships/tags" Target="../tags/tag158.xml"/><Relationship Id="rId20" Type="http://schemas.openxmlformats.org/officeDocument/2006/relationships/tags" Target="../tags/tag162.xml"/><Relationship Id="rId29" Type="http://schemas.openxmlformats.org/officeDocument/2006/relationships/tags" Target="../tags/tag171.xml"/><Relationship Id="rId41" Type="http://schemas.openxmlformats.org/officeDocument/2006/relationships/image" Target="../media/image1.emf"/><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tags" Target="../tags/tag153.xml"/><Relationship Id="rId24" Type="http://schemas.openxmlformats.org/officeDocument/2006/relationships/tags" Target="../tags/tag166.xml"/><Relationship Id="rId32" Type="http://schemas.openxmlformats.org/officeDocument/2006/relationships/tags" Target="../tags/tag174.xml"/><Relationship Id="rId37" Type="http://schemas.openxmlformats.org/officeDocument/2006/relationships/tags" Target="../tags/tag179.xml"/><Relationship Id="rId40" Type="http://schemas.openxmlformats.org/officeDocument/2006/relationships/oleObject" Target="../embeddings/oleObject15.bin"/><Relationship Id="rId5" Type="http://schemas.openxmlformats.org/officeDocument/2006/relationships/tags" Target="../tags/tag147.xml"/><Relationship Id="rId15" Type="http://schemas.openxmlformats.org/officeDocument/2006/relationships/tags" Target="../tags/tag157.xml"/><Relationship Id="rId23" Type="http://schemas.openxmlformats.org/officeDocument/2006/relationships/tags" Target="../tags/tag165.xml"/><Relationship Id="rId28" Type="http://schemas.openxmlformats.org/officeDocument/2006/relationships/tags" Target="../tags/tag170.xml"/><Relationship Id="rId36" Type="http://schemas.openxmlformats.org/officeDocument/2006/relationships/tags" Target="../tags/tag178.xml"/><Relationship Id="rId10" Type="http://schemas.openxmlformats.org/officeDocument/2006/relationships/tags" Target="../tags/tag152.xml"/><Relationship Id="rId19" Type="http://schemas.openxmlformats.org/officeDocument/2006/relationships/tags" Target="../tags/tag161.xml"/><Relationship Id="rId31" Type="http://schemas.openxmlformats.org/officeDocument/2006/relationships/tags" Target="../tags/tag173.xml"/><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tags" Target="../tags/tag156.xml"/><Relationship Id="rId22" Type="http://schemas.openxmlformats.org/officeDocument/2006/relationships/tags" Target="../tags/tag164.xml"/><Relationship Id="rId27" Type="http://schemas.openxmlformats.org/officeDocument/2006/relationships/tags" Target="../tags/tag169.xml"/><Relationship Id="rId30" Type="http://schemas.openxmlformats.org/officeDocument/2006/relationships/tags" Target="../tags/tag172.xml"/><Relationship Id="rId35" Type="http://schemas.openxmlformats.org/officeDocument/2006/relationships/tags" Target="../tags/tag177.xml"/><Relationship Id="rId8" Type="http://schemas.openxmlformats.org/officeDocument/2006/relationships/tags" Target="../tags/tag150.xml"/><Relationship Id="rId3" Type="http://schemas.openxmlformats.org/officeDocument/2006/relationships/tags" Target="../tags/tag145.xml"/><Relationship Id="rId12" Type="http://schemas.openxmlformats.org/officeDocument/2006/relationships/tags" Target="../tags/tag154.xml"/><Relationship Id="rId17" Type="http://schemas.openxmlformats.org/officeDocument/2006/relationships/tags" Target="../tags/tag159.xml"/><Relationship Id="rId25" Type="http://schemas.openxmlformats.org/officeDocument/2006/relationships/tags" Target="../tags/tag167.xml"/><Relationship Id="rId33" Type="http://schemas.openxmlformats.org/officeDocument/2006/relationships/tags" Target="../tags/tag175.xml"/><Relationship Id="rId38"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82.xml"/><Relationship Id="rId7" Type="http://schemas.openxmlformats.org/officeDocument/2006/relationships/notesSlide" Target="../notesSlides/notesSlide19.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slideLayout" Target="../slideLayouts/slideLayout1.xml"/><Relationship Id="rId5" Type="http://schemas.openxmlformats.org/officeDocument/2006/relationships/tags" Target="../tags/tag184.xml"/><Relationship Id="rId10" Type="http://schemas.openxmlformats.org/officeDocument/2006/relationships/chart" Target="../charts/chart13.xml"/><Relationship Id="rId4" Type="http://schemas.openxmlformats.org/officeDocument/2006/relationships/tags" Target="../tags/tag183.xml"/><Relationship Id="rId9"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18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9.jpeg"/></Relationships>
</file>

<file path=ppt/slides/_rels/slide21.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notesSlide" Target="../notesSlides/notesSlide21.xml"/><Relationship Id="rId7" Type="http://schemas.openxmlformats.org/officeDocument/2006/relationships/image" Target="../media/image41.emf"/><Relationship Id="rId2" Type="http://schemas.openxmlformats.org/officeDocument/2006/relationships/slideLayout" Target="../slideLayouts/slideLayout1.xml"/><Relationship Id="rId1" Type="http://schemas.openxmlformats.org/officeDocument/2006/relationships/tags" Target="../tags/tag186.xml"/><Relationship Id="rId6" Type="http://schemas.openxmlformats.org/officeDocument/2006/relationships/image" Target="../media/image40.emf"/><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43.jpeg"/></Relationships>
</file>

<file path=ppt/slides/_rels/slide22.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notesSlide" Target="../notesSlides/notesSlide22.xml"/><Relationship Id="rId7" Type="http://schemas.openxmlformats.org/officeDocument/2006/relationships/image" Target="../media/image41.emf"/><Relationship Id="rId2" Type="http://schemas.openxmlformats.org/officeDocument/2006/relationships/slideLayout" Target="../slideLayouts/slideLayout1.xml"/><Relationship Id="rId1" Type="http://schemas.openxmlformats.org/officeDocument/2006/relationships/tags" Target="../tags/tag187.xml"/><Relationship Id="rId6" Type="http://schemas.openxmlformats.org/officeDocument/2006/relationships/image" Target="../media/image40.emf"/><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1.xml"/><Relationship Id="rId1" Type="http://schemas.openxmlformats.org/officeDocument/2006/relationships/tags" Target="../tags/tag188.xml"/><Relationship Id="rId6" Type="http://schemas.openxmlformats.org/officeDocument/2006/relationships/oleObject" Target="../embeddings/oleObject2.bin"/><Relationship Id="rId5" Type="http://schemas.openxmlformats.org/officeDocument/2006/relationships/image" Target="../media/image42.emf"/><Relationship Id="rId4" Type="http://schemas.openxmlformats.org/officeDocument/2006/relationships/image" Target="../media/image16.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xml"/><Relationship Id="rId1" Type="http://schemas.openxmlformats.org/officeDocument/2006/relationships/tags" Target="../tags/tag18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5.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7.jpeg"/><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notesSlide" Target="../notesSlides/notesSlide4.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9.jpeg"/></Relationships>
</file>

<file path=ppt/slides/_rels/slide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6.xml"/><Relationship Id="rId7" Type="http://schemas.openxmlformats.org/officeDocument/2006/relationships/image" Target="../media/image13.jpe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8.emf"/><Relationship Id="rId5" Type="http://schemas.openxmlformats.org/officeDocument/2006/relationships/image" Target="../media/image12.emf"/><Relationship Id="rId4" Type="http://schemas.openxmlformats.org/officeDocument/2006/relationships/oleObject" Target="../embeddings/oleObject5.bin"/><Relationship Id="rId9"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4.jpe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12.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5.jpeg"/></Relationships>
</file>

<file path=ppt/slides/_rels/slide9.xml.rels><?xml version="1.0" encoding="UTF-8" standalone="yes"?>
<Relationships xmlns="http://schemas.openxmlformats.org/package/2006/relationships"><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9" Type="http://schemas.openxmlformats.org/officeDocument/2006/relationships/image" Target="../media/image1.emf"/><Relationship Id="rId21" Type="http://schemas.openxmlformats.org/officeDocument/2006/relationships/tags" Target="../tags/tag29.xml"/><Relationship Id="rId34" Type="http://schemas.openxmlformats.org/officeDocument/2006/relationships/tags" Target="../tags/tag42.xml"/><Relationship Id="rId42" Type="http://schemas.openxmlformats.org/officeDocument/2006/relationships/chart" Target="../charts/chart2.xml"/><Relationship Id="rId7" Type="http://schemas.openxmlformats.org/officeDocument/2006/relationships/tags" Target="../tags/tag15.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tags" Target="../tags/tag37.xml"/><Relationship Id="rId41" Type="http://schemas.openxmlformats.org/officeDocument/2006/relationships/chart" Target="../charts/chart1.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notesSlide" Target="../notesSlides/notesSlide9.xml"/><Relationship Id="rId40" Type="http://schemas.openxmlformats.org/officeDocument/2006/relationships/image" Target="../media/image16.emf"/><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slideLayout" Target="../slideLayouts/slideLayout1.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tags" Target="../tags/tag39.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 Id="rId8" Type="http://schemas.openxmlformats.org/officeDocument/2006/relationships/tags" Target="../tags/tag16.xml"/><Relationship Id="rId3" Type="http://schemas.openxmlformats.org/officeDocument/2006/relationships/tags" Target="../tags/tag11.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185EEF46-CC24-FA39-1693-F0C70BC08C30}"/>
              </a:ext>
            </a:extLst>
          </p:cNvPr>
          <p:cNvPicPr>
            <a:picLocks noChangeAspect="1"/>
          </p:cNvPicPr>
          <p:nvPr/>
        </p:nvPicPr>
        <p:blipFill>
          <a:blip r:embed="rId4"/>
          <a:stretch>
            <a:fillRect/>
          </a:stretch>
        </p:blipFill>
        <p:spPr>
          <a:xfrm>
            <a:off x="0" y="0"/>
            <a:ext cx="12192000" cy="6858000"/>
          </a:xfrm>
          <a:prstGeom prst="rect">
            <a:avLst/>
          </a:prstGeom>
        </p:spPr>
      </p:pic>
      <p:graphicFrame>
        <p:nvGraphicFramePr>
          <p:cNvPr id="7" name="think-cell data - do not delete" hidden="1">
            <a:extLst>
              <a:ext uri="{FF2B5EF4-FFF2-40B4-BE49-F238E27FC236}">
                <a16:creationId xmlns:a16="http://schemas.microsoft.com/office/drawing/2014/main" id="{D6671726-3BCD-F3FA-F071-A4A61FC925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95" imgH="396" progId="TCLayout.ActiveDocument.1">
                  <p:embed/>
                </p:oleObj>
              </mc:Choice>
              <mc:Fallback>
                <p:oleObj name="Diapositiva de think-cell" r:id="rId5" imgW="395" imgH="396" progId="TCLayout.ActiveDocument.1">
                  <p:embed/>
                  <p:pic>
                    <p:nvPicPr>
                      <p:cNvPr id="7" name="think-cell data - do not delete" hidden="1">
                        <a:extLst>
                          <a:ext uri="{FF2B5EF4-FFF2-40B4-BE49-F238E27FC236}">
                            <a16:creationId xmlns:a16="http://schemas.microsoft.com/office/drawing/2014/main" id="{D6671726-3BCD-F3FA-F071-A4A61FC925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CuadroTexto 3">
            <a:extLst>
              <a:ext uri="{FF2B5EF4-FFF2-40B4-BE49-F238E27FC236}">
                <a16:creationId xmlns:a16="http://schemas.microsoft.com/office/drawing/2014/main" id="{377446BB-0992-0053-95CE-C8EC25995C8A}"/>
              </a:ext>
            </a:extLst>
          </p:cNvPr>
          <p:cNvSpPr txBox="1"/>
          <p:nvPr/>
        </p:nvSpPr>
        <p:spPr>
          <a:xfrm>
            <a:off x="5130839" y="5442511"/>
            <a:ext cx="6902666" cy="726609"/>
          </a:xfrm>
          <a:prstGeom prst="rect">
            <a:avLst/>
          </a:prstGeom>
          <a:noFill/>
        </p:spPr>
        <p:txBody>
          <a:bodyPr wrap="square" rtlCol="0">
            <a:spAutoFit/>
          </a:bodyPr>
          <a:lstStyle/>
          <a:p>
            <a:pPr>
              <a:lnSpc>
                <a:spcPts val="5400"/>
              </a:lnSpc>
            </a:pPr>
            <a:r>
              <a:rPr lang="es-CL" sz="3200" b="1" err="1">
                <a:solidFill>
                  <a:schemeClr val="tx2"/>
                </a:solidFill>
                <a:latin typeface="Poppins" pitchFamily="2" charset="77"/>
                <a:cs typeface="Poppins" pitchFamily="2" charset="77"/>
              </a:rPr>
              <a:t>Earnings</a:t>
            </a:r>
            <a:r>
              <a:rPr lang="es-CL" sz="3200" b="1">
                <a:solidFill>
                  <a:schemeClr val="tx2"/>
                </a:solidFill>
                <a:latin typeface="Poppins" pitchFamily="2" charset="77"/>
                <a:cs typeface="Poppins" pitchFamily="2" charset="77"/>
              </a:rPr>
              <a:t> </a:t>
            </a:r>
            <a:r>
              <a:rPr lang="es-CL" sz="3200" b="1" err="1">
                <a:solidFill>
                  <a:schemeClr val="tx2"/>
                </a:solidFill>
                <a:latin typeface="Poppins" pitchFamily="2" charset="77"/>
                <a:cs typeface="Poppins" pitchFamily="2" charset="77"/>
              </a:rPr>
              <a:t>Presentation</a:t>
            </a:r>
            <a:endParaRPr lang="es-CL" sz="3200" b="1">
              <a:solidFill>
                <a:schemeClr val="tx2"/>
              </a:solidFill>
              <a:latin typeface="Poppins" pitchFamily="2" charset="77"/>
              <a:cs typeface="Poppins" pitchFamily="2" charset="77"/>
            </a:endParaRPr>
          </a:p>
        </p:txBody>
      </p:sp>
      <p:sp>
        <p:nvSpPr>
          <p:cNvPr id="5" name="CuadroTexto 4">
            <a:extLst>
              <a:ext uri="{FF2B5EF4-FFF2-40B4-BE49-F238E27FC236}">
                <a16:creationId xmlns:a16="http://schemas.microsoft.com/office/drawing/2014/main" id="{8007E814-EC70-5F9C-19F1-673BE30861E3}"/>
              </a:ext>
            </a:extLst>
          </p:cNvPr>
          <p:cNvSpPr txBox="1"/>
          <p:nvPr/>
        </p:nvSpPr>
        <p:spPr>
          <a:xfrm>
            <a:off x="5130838" y="6177328"/>
            <a:ext cx="4631635" cy="461665"/>
          </a:xfrm>
          <a:prstGeom prst="rect">
            <a:avLst/>
          </a:prstGeom>
          <a:noFill/>
        </p:spPr>
        <p:txBody>
          <a:bodyPr wrap="square" rtlCol="0">
            <a:spAutoFit/>
          </a:bodyPr>
          <a:lstStyle/>
          <a:p>
            <a:r>
              <a:rPr lang="es-CL" sz="2400" err="1">
                <a:solidFill>
                  <a:schemeClr val="tx2"/>
                </a:solidFill>
                <a:latin typeface="Poppins" pitchFamily="2" charset="77"/>
                <a:cs typeface="Poppins" pitchFamily="2" charset="77"/>
              </a:rPr>
              <a:t>First</a:t>
            </a:r>
            <a:r>
              <a:rPr lang="es-CL" sz="2400">
                <a:solidFill>
                  <a:schemeClr val="tx2"/>
                </a:solidFill>
                <a:latin typeface="Poppins" pitchFamily="2" charset="77"/>
                <a:cs typeface="Poppins" pitchFamily="2" charset="77"/>
              </a:rPr>
              <a:t> </a:t>
            </a:r>
            <a:r>
              <a:rPr lang="es-CL" sz="2400" err="1">
                <a:solidFill>
                  <a:schemeClr val="tx2"/>
                </a:solidFill>
                <a:latin typeface="Poppins" pitchFamily="2" charset="77"/>
                <a:cs typeface="Poppins" pitchFamily="2" charset="77"/>
              </a:rPr>
              <a:t>Quarter</a:t>
            </a:r>
            <a:r>
              <a:rPr lang="es-CL" sz="2400">
                <a:solidFill>
                  <a:schemeClr val="tx2"/>
                </a:solidFill>
                <a:latin typeface="Poppins" pitchFamily="2" charset="77"/>
                <a:cs typeface="Poppins" pitchFamily="2" charset="77"/>
              </a:rPr>
              <a:t> 2025</a:t>
            </a:r>
          </a:p>
        </p:txBody>
      </p:sp>
    </p:spTree>
    <p:extLst>
      <p:ext uri="{BB962C8B-B14F-4D97-AF65-F5344CB8AC3E}">
        <p14:creationId xmlns:p14="http://schemas.microsoft.com/office/powerpoint/2010/main" val="15524406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5C15A0-4D98-72A3-881F-810E49057FAD}"/>
            </a:ext>
          </a:extLst>
        </p:cNvPr>
        <p:cNvGrpSpPr/>
        <p:nvPr/>
      </p:nvGrpSpPr>
      <p:grpSpPr>
        <a:xfrm>
          <a:off x="0" y="0"/>
          <a:ext cx="0" cy="0"/>
          <a:chOff x="0" y="0"/>
          <a:chExt cx="0" cy="0"/>
        </a:xfrm>
      </p:grpSpPr>
      <p:pic>
        <p:nvPicPr>
          <p:cNvPr id="13" name="Imagen 12">
            <a:extLst>
              <a:ext uri="{FF2B5EF4-FFF2-40B4-BE49-F238E27FC236}">
                <a16:creationId xmlns:a16="http://schemas.microsoft.com/office/drawing/2014/main" id="{56835A50-B846-F410-7717-17904E64658C}"/>
              </a:ext>
            </a:extLst>
          </p:cNvPr>
          <p:cNvPicPr>
            <a:picLocks noChangeAspect="1"/>
          </p:cNvPicPr>
          <p:nvPr/>
        </p:nvPicPr>
        <p:blipFill>
          <a:blip r:embed="rId4"/>
          <a:srcRect b="59556"/>
          <a:stretch/>
        </p:blipFill>
        <p:spPr>
          <a:xfrm>
            <a:off x="-3826" y="3644552"/>
            <a:ext cx="12195826" cy="3213448"/>
          </a:xfrm>
          <a:prstGeom prst="rect">
            <a:avLst/>
          </a:prstGeom>
        </p:spPr>
      </p:pic>
      <p:graphicFrame>
        <p:nvGraphicFramePr>
          <p:cNvPr id="7" name="think-cell data - do not delete" hidden="1">
            <a:extLst>
              <a:ext uri="{FF2B5EF4-FFF2-40B4-BE49-F238E27FC236}">
                <a16:creationId xmlns:a16="http://schemas.microsoft.com/office/drawing/2014/main" id="{85B15BE0-AE79-A642-A660-F0F488BEE9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95" imgH="396" progId="TCLayout.ActiveDocument.1">
                  <p:embed/>
                </p:oleObj>
              </mc:Choice>
              <mc:Fallback>
                <p:oleObj name="Diapositiva de think-cell" r:id="rId5" imgW="395" imgH="396" progId="TCLayout.ActiveDocument.1">
                  <p:embed/>
                  <p:pic>
                    <p:nvPicPr>
                      <p:cNvPr id="7" name="think-cell data - do not delete" hidden="1">
                        <a:extLst>
                          <a:ext uri="{FF2B5EF4-FFF2-40B4-BE49-F238E27FC236}">
                            <a16:creationId xmlns:a16="http://schemas.microsoft.com/office/drawing/2014/main" id="{85B15BE0-AE79-A642-A660-F0F488BEE9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CuadroTexto 5">
            <a:extLst>
              <a:ext uri="{FF2B5EF4-FFF2-40B4-BE49-F238E27FC236}">
                <a16:creationId xmlns:a16="http://schemas.microsoft.com/office/drawing/2014/main" id="{17B36644-B6C6-BA23-AE33-961CAF73E7D5}"/>
              </a:ext>
            </a:extLst>
          </p:cNvPr>
          <p:cNvSpPr txBox="1"/>
          <p:nvPr/>
        </p:nvSpPr>
        <p:spPr>
          <a:xfrm>
            <a:off x="447598" y="3130125"/>
            <a:ext cx="5921671" cy="892552"/>
          </a:xfrm>
          <a:prstGeom prst="rect">
            <a:avLst/>
          </a:prstGeom>
          <a:noFill/>
        </p:spPr>
        <p:txBody>
          <a:bodyPr wrap="square" rtlCol="0">
            <a:spAutoFit/>
          </a:bodyPr>
          <a:lstStyle/>
          <a:p>
            <a:pPr algn="just">
              <a:spcBef>
                <a:spcPts val="1200"/>
              </a:spcBef>
            </a:pPr>
            <a:r>
              <a:rPr lang="es-CL" sz="1300" b="1">
                <a:solidFill>
                  <a:schemeClr val="tx2"/>
                </a:solidFill>
                <a:latin typeface="Poppins" pitchFamily="2" charset="77"/>
                <a:cs typeface="Poppins" pitchFamily="2" charset="77"/>
              </a:rPr>
              <a:t>FFO (</a:t>
            </a:r>
            <a:r>
              <a:rPr lang="es-CL" sz="1300" b="1" i="1" err="1">
                <a:solidFill>
                  <a:schemeClr val="tx2"/>
                </a:solidFill>
                <a:latin typeface="Poppins" pitchFamily="2" charset="77"/>
                <a:cs typeface="Poppins" pitchFamily="2" charset="77"/>
              </a:rPr>
              <a:t>Funds</a:t>
            </a:r>
            <a:r>
              <a:rPr lang="es-CL" sz="1300" b="1" i="1">
                <a:solidFill>
                  <a:schemeClr val="tx2"/>
                </a:solidFill>
                <a:latin typeface="Poppins" pitchFamily="2" charset="77"/>
                <a:cs typeface="Poppins" pitchFamily="2" charset="77"/>
              </a:rPr>
              <a:t> </a:t>
            </a:r>
            <a:r>
              <a:rPr lang="es-CL" sz="1300" b="1" i="1" err="1">
                <a:solidFill>
                  <a:schemeClr val="tx2"/>
                </a:solidFill>
                <a:latin typeface="Poppins" pitchFamily="2" charset="77"/>
                <a:cs typeface="Poppins" pitchFamily="2" charset="77"/>
              </a:rPr>
              <a:t>From</a:t>
            </a:r>
            <a:r>
              <a:rPr lang="es-CL" sz="1300" b="1" i="1">
                <a:solidFill>
                  <a:schemeClr val="tx2"/>
                </a:solidFill>
                <a:latin typeface="Poppins" pitchFamily="2" charset="77"/>
                <a:cs typeface="Poppins" pitchFamily="2" charset="77"/>
              </a:rPr>
              <a:t> </a:t>
            </a:r>
            <a:r>
              <a:rPr lang="es-CL" sz="1300" b="1" i="1" err="1">
                <a:solidFill>
                  <a:schemeClr val="tx2"/>
                </a:solidFill>
                <a:latin typeface="Poppins" pitchFamily="2" charset="77"/>
                <a:cs typeface="Poppins" pitchFamily="2" charset="77"/>
              </a:rPr>
              <a:t>Operations</a:t>
            </a:r>
            <a:r>
              <a:rPr lang="es-CL" sz="1300" b="1">
                <a:solidFill>
                  <a:schemeClr val="tx2"/>
                </a:solidFill>
                <a:latin typeface="Poppins" pitchFamily="2" charset="77"/>
                <a:cs typeface="Poppins" pitchFamily="2" charset="77"/>
              </a:rPr>
              <a:t>): </a:t>
            </a:r>
            <a:r>
              <a:rPr lang="en-US" sz="1300">
                <a:solidFill>
                  <a:schemeClr val="tx2"/>
                </a:solidFill>
                <a:latin typeface="Poppins" pitchFamily="2" charset="77"/>
                <a:cs typeface="Poppins" pitchFamily="2" charset="77"/>
              </a:rPr>
              <a:t>During the quarter, FFO increased by 6.6%, reaching CLP 62,462 million. This performance was driven by stronger operational results during the quarter, partially offset by higher tax payments compared to 1Q24.</a:t>
            </a:r>
            <a:endParaRPr lang="es-CL" sz="1300">
              <a:solidFill>
                <a:schemeClr val="tx2"/>
              </a:solidFill>
              <a:latin typeface="Poppins" pitchFamily="2" charset="77"/>
              <a:cs typeface="Poppins" pitchFamily="2" charset="77"/>
            </a:endParaRPr>
          </a:p>
        </p:txBody>
      </p:sp>
      <p:sp>
        <p:nvSpPr>
          <p:cNvPr id="10" name="CuadroTexto 9">
            <a:extLst>
              <a:ext uri="{FF2B5EF4-FFF2-40B4-BE49-F238E27FC236}">
                <a16:creationId xmlns:a16="http://schemas.microsoft.com/office/drawing/2014/main" id="{10D21A58-8CA0-6C7A-BDED-EEED0F3FC795}"/>
              </a:ext>
            </a:extLst>
          </p:cNvPr>
          <p:cNvSpPr txBox="1"/>
          <p:nvPr/>
        </p:nvSpPr>
        <p:spPr>
          <a:xfrm>
            <a:off x="443799" y="4472996"/>
            <a:ext cx="6184430" cy="892552"/>
          </a:xfrm>
          <a:prstGeom prst="rect">
            <a:avLst/>
          </a:prstGeom>
          <a:noFill/>
        </p:spPr>
        <p:txBody>
          <a:bodyPr wrap="square" rtlCol="0">
            <a:spAutoFit/>
          </a:bodyPr>
          <a:lstStyle/>
          <a:p>
            <a:pPr algn="just">
              <a:spcBef>
                <a:spcPts val="1200"/>
              </a:spcBef>
            </a:pPr>
            <a:r>
              <a:rPr lang="es-CL" sz="1300" b="1" err="1">
                <a:solidFill>
                  <a:schemeClr val="tx2"/>
                </a:solidFill>
                <a:latin typeface="Poppins" pitchFamily="2" charset="77"/>
                <a:cs typeface="Poppins" pitchFamily="2" charset="77"/>
              </a:rPr>
              <a:t>Distributable</a:t>
            </a:r>
            <a:r>
              <a:rPr lang="es-CL" sz="1300" b="1">
                <a:solidFill>
                  <a:schemeClr val="tx2"/>
                </a:solidFill>
                <a:latin typeface="Poppins" pitchFamily="2" charset="77"/>
                <a:cs typeface="Poppins" pitchFamily="2" charset="77"/>
              </a:rPr>
              <a:t> Net </a:t>
            </a:r>
            <a:r>
              <a:rPr lang="es-CL" sz="1300" b="1" err="1">
                <a:solidFill>
                  <a:schemeClr val="tx2"/>
                </a:solidFill>
                <a:latin typeface="Poppins" pitchFamily="2" charset="77"/>
                <a:cs typeface="Poppins" pitchFamily="2" charset="77"/>
              </a:rPr>
              <a:t>Income</a:t>
            </a:r>
            <a:r>
              <a:rPr lang="es-CL" sz="1300" b="1" baseline="30000">
                <a:solidFill>
                  <a:schemeClr val="tx2"/>
                </a:solidFill>
                <a:latin typeface="Poppins" pitchFamily="2" charset="77"/>
                <a:cs typeface="Poppins" pitchFamily="2" charset="77"/>
              </a:rPr>
              <a:t>(1)</a:t>
            </a:r>
            <a:r>
              <a:rPr lang="es-CL" sz="1300" b="1">
                <a:solidFill>
                  <a:schemeClr val="tx2"/>
                </a:solidFill>
                <a:latin typeface="Poppins" pitchFamily="2" charset="77"/>
                <a:cs typeface="Poppins" pitchFamily="2" charset="77"/>
              </a:rPr>
              <a:t>: </a:t>
            </a:r>
            <a:r>
              <a:rPr lang="en-US" sz="1300">
                <a:solidFill>
                  <a:schemeClr val="tx2"/>
                </a:solidFill>
                <a:latin typeface="Poppins" pitchFamily="2" charset="77"/>
                <a:cs typeface="Poppins" pitchFamily="2" charset="77"/>
              </a:rPr>
              <a:t>The quarter closed at CLP 52,524 million, reflecting a 3.7% decrease compared to 1Q24. The decline was mainly due to an unfavorable impact from Inflation-Indexed Units (</a:t>
            </a:r>
            <a:r>
              <a:rPr lang="en-US" sz="1300" err="1">
                <a:solidFill>
                  <a:schemeClr val="tx2"/>
                </a:solidFill>
                <a:latin typeface="Poppins" pitchFamily="2" charset="77"/>
                <a:cs typeface="Poppins" pitchFamily="2" charset="77"/>
              </a:rPr>
              <a:t>Unidades</a:t>
            </a:r>
            <a:r>
              <a:rPr lang="en-US" sz="1300">
                <a:solidFill>
                  <a:schemeClr val="tx2"/>
                </a:solidFill>
                <a:latin typeface="Poppins" pitchFamily="2" charset="77"/>
                <a:cs typeface="Poppins" pitchFamily="2" charset="77"/>
              </a:rPr>
              <a:t> de </a:t>
            </a:r>
            <a:r>
              <a:rPr lang="en-US" sz="1300" err="1">
                <a:solidFill>
                  <a:schemeClr val="tx2"/>
                </a:solidFill>
                <a:latin typeface="Poppins" pitchFamily="2" charset="77"/>
                <a:cs typeface="Poppins" pitchFamily="2" charset="77"/>
              </a:rPr>
              <a:t>Reajuste</a:t>
            </a:r>
            <a:r>
              <a:rPr lang="en-US" sz="1300">
                <a:solidFill>
                  <a:schemeClr val="tx2"/>
                </a:solidFill>
                <a:latin typeface="Poppins" pitchFamily="2" charset="77"/>
                <a:cs typeface="Poppins" pitchFamily="2" charset="77"/>
              </a:rPr>
              <a:t>) and foreign exchange differences.</a:t>
            </a:r>
            <a:endParaRPr lang="es-CL" sz="1300" b="1">
              <a:solidFill>
                <a:schemeClr val="tx2"/>
              </a:solidFill>
              <a:latin typeface="Poppins" pitchFamily="2" charset="77"/>
              <a:cs typeface="Poppins" pitchFamily="2" charset="77"/>
            </a:endParaRPr>
          </a:p>
        </p:txBody>
      </p:sp>
      <p:pic>
        <p:nvPicPr>
          <p:cNvPr id="12" name="Imagen 11">
            <a:extLst>
              <a:ext uri="{FF2B5EF4-FFF2-40B4-BE49-F238E27FC236}">
                <a16:creationId xmlns:a16="http://schemas.microsoft.com/office/drawing/2014/main" id="{2A0F8575-C592-2B8E-FB6F-6FE5DEE23724}"/>
              </a:ext>
            </a:extLst>
          </p:cNvPr>
          <p:cNvPicPr>
            <a:picLocks noChangeAspect="1"/>
          </p:cNvPicPr>
          <p:nvPr/>
        </p:nvPicPr>
        <p:blipFill>
          <a:blip r:embed="rId7" cstate="screen">
            <a:extLst>
              <a:ext uri="{28A0092B-C50C-407E-A947-70E740481C1C}">
                <a14:useLocalDpi xmlns:a14="http://schemas.microsoft.com/office/drawing/2010/main"/>
              </a:ext>
            </a:extLst>
          </a:blip>
          <a:srcRect t="6001"/>
          <a:stretch/>
        </p:blipFill>
        <p:spPr>
          <a:xfrm>
            <a:off x="8218124" y="902712"/>
            <a:ext cx="3824087" cy="5397384"/>
          </a:xfrm>
          <a:prstGeom prst="roundRect">
            <a:avLst>
              <a:gd name="adj" fmla="val 13458"/>
            </a:avLst>
          </a:prstGeom>
        </p:spPr>
      </p:pic>
      <p:sp>
        <p:nvSpPr>
          <p:cNvPr id="9" name="CuadroTexto 8">
            <a:extLst>
              <a:ext uri="{FF2B5EF4-FFF2-40B4-BE49-F238E27FC236}">
                <a16:creationId xmlns:a16="http://schemas.microsoft.com/office/drawing/2014/main" id="{1DDBBF25-4B2C-3885-8F5D-3BF2F20BBE4C}"/>
              </a:ext>
            </a:extLst>
          </p:cNvPr>
          <p:cNvSpPr txBox="1"/>
          <p:nvPr/>
        </p:nvSpPr>
        <p:spPr>
          <a:xfrm>
            <a:off x="0" y="6589721"/>
            <a:ext cx="7626096" cy="268279"/>
          </a:xfrm>
          <a:prstGeom prst="rect">
            <a:avLst/>
          </a:prstGeom>
          <a:noFill/>
        </p:spPr>
        <p:txBody>
          <a:bodyPr wrap="square">
            <a:spAutoFit/>
          </a:bodyPr>
          <a:lstStyle/>
          <a:p>
            <a:pPr algn="just">
              <a:lnSpc>
                <a:spcPct val="125000"/>
              </a:lnSpc>
              <a:buClr>
                <a:schemeClr val="tx2"/>
              </a:buClr>
            </a:pPr>
            <a:r>
              <a:rPr lang="es-CL" sz="1000" baseline="30000">
                <a:solidFill>
                  <a:schemeClr val="tx2"/>
                </a:solidFill>
                <a:latin typeface="Montserrat" panose="00000500000000000000" pitchFamily="2" charset="0"/>
                <a:cs typeface="Poppins" pitchFamily="2" charset="77"/>
              </a:rPr>
              <a:t>(1) </a:t>
            </a:r>
            <a:r>
              <a:rPr lang="en-US" sz="1000">
                <a:solidFill>
                  <a:schemeClr val="tx2"/>
                </a:solidFill>
                <a:latin typeface="Montserrat" panose="00000500000000000000" pitchFamily="2" charset="0"/>
                <a:cs typeface="Poppins" pitchFamily="2" charset="77"/>
              </a:rPr>
              <a:t>Considers Net Income attributable to the controlling shareholder, excluding the net effect of asset revaluation.</a:t>
            </a:r>
            <a:endParaRPr lang="es-CL" sz="1000">
              <a:solidFill>
                <a:schemeClr val="tx2"/>
              </a:solidFill>
              <a:latin typeface="Montserrat" panose="00000500000000000000" pitchFamily="2" charset="0"/>
              <a:cs typeface="Poppins" pitchFamily="2" charset="77"/>
            </a:endParaRPr>
          </a:p>
        </p:txBody>
      </p:sp>
      <p:sp>
        <p:nvSpPr>
          <p:cNvPr id="8" name="CuadroTexto 7">
            <a:extLst>
              <a:ext uri="{FF2B5EF4-FFF2-40B4-BE49-F238E27FC236}">
                <a16:creationId xmlns:a16="http://schemas.microsoft.com/office/drawing/2014/main" id="{124D65BF-DFC6-D0D5-D46C-05A32C117840}"/>
              </a:ext>
            </a:extLst>
          </p:cNvPr>
          <p:cNvSpPr txBox="1"/>
          <p:nvPr/>
        </p:nvSpPr>
        <p:spPr>
          <a:xfrm>
            <a:off x="491796" y="207049"/>
            <a:ext cx="6466866" cy="553998"/>
          </a:xfrm>
          <a:prstGeom prst="rect">
            <a:avLst/>
          </a:prstGeom>
          <a:noFill/>
        </p:spPr>
        <p:txBody>
          <a:bodyPr wrap="square" rtlCol="0">
            <a:spAutoFit/>
          </a:bodyPr>
          <a:lstStyle/>
          <a:p>
            <a:r>
              <a:rPr lang="es-CL" sz="3000" b="1">
                <a:solidFill>
                  <a:schemeClr val="accent3"/>
                </a:solidFill>
                <a:latin typeface="Poppins" pitchFamily="2" charset="77"/>
                <a:cs typeface="Poppins" pitchFamily="2" charset="77"/>
              </a:rPr>
              <a:t>2.2 </a:t>
            </a:r>
            <a:r>
              <a:rPr kumimoji="0" lang="es-CL" sz="3000" b="1" i="0" u="none" strike="noStrike" kern="1200" cap="none" spc="0" normalizeH="0" baseline="0" noProof="0">
                <a:ln>
                  <a:noFill/>
                </a:ln>
                <a:solidFill>
                  <a:schemeClr val="tx2"/>
                </a:solidFill>
                <a:effectLst/>
                <a:uLnTx/>
                <a:uFillTx/>
                <a:latin typeface="Poppins" pitchFamily="2" charset="77"/>
                <a:cs typeface="Poppins" pitchFamily="2" charset="77"/>
              </a:rPr>
              <a:t>1Q25 Executive </a:t>
            </a:r>
            <a:r>
              <a:rPr kumimoji="0" lang="es-CL" sz="3000" b="1" i="0" u="none" strike="noStrike" kern="1200" cap="none" spc="0" normalizeH="0" baseline="0" noProof="0" err="1">
                <a:ln>
                  <a:noFill/>
                </a:ln>
                <a:solidFill>
                  <a:schemeClr val="tx2"/>
                </a:solidFill>
                <a:effectLst/>
                <a:uLnTx/>
                <a:uFillTx/>
                <a:latin typeface="Poppins" pitchFamily="2" charset="77"/>
                <a:cs typeface="Poppins" pitchFamily="2" charset="77"/>
              </a:rPr>
              <a:t>Summary</a:t>
            </a:r>
            <a:endParaRPr lang="es-CL" sz="3000" b="1">
              <a:solidFill>
                <a:schemeClr val="tx2"/>
              </a:solidFill>
              <a:latin typeface="Poppins" pitchFamily="2" charset="77"/>
              <a:cs typeface="Poppins" pitchFamily="2" charset="77"/>
            </a:endParaRPr>
          </a:p>
        </p:txBody>
      </p:sp>
      <p:graphicFrame>
        <p:nvGraphicFramePr>
          <p:cNvPr id="5" name="Tabla 4">
            <a:extLst>
              <a:ext uri="{FF2B5EF4-FFF2-40B4-BE49-F238E27FC236}">
                <a16:creationId xmlns:a16="http://schemas.microsoft.com/office/drawing/2014/main" id="{F3F10ED0-6486-E09F-D971-FB982184E638}"/>
              </a:ext>
            </a:extLst>
          </p:cNvPr>
          <p:cNvGraphicFramePr>
            <a:graphicFrameLocks noGrp="1"/>
          </p:cNvGraphicFramePr>
          <p:nvPr>
            <p:extLst>
              <p:ext uri="{D42A27DB-BD31-4B8C-83A1-F6EECF244321}">
                <p14:modId xmlns:p14="http://schemas.microsoft.com/office/powerpoint/2010/main" val="3937546101"/>
              </p:ext>
            </p:extLst>
          </p:nvPr>
        </p:nvGraphicFramePr>
        <p:xfrm>
          <a:off x="241332" y="1052796"/>
          <a:ext cx="7465090" cy="1872000"/>
        </p:xfrm>
        <a:graphic>
          <a:graphicData uri="http://schemas.openxmlformats.org/drawingml/2006/table">
            <a:tbl>
              <a:tblPr/>
              <a:tblGrid>
                <a:gridCol w="2768134">
                  <a:extLst>
                    <a:ext uri="{9D8B030D-6E8A-4147-A177-3AD203B41FA5}">
                      <a16:colId xmlns:a16="http://schemas.microsoft.com/office/drawing/2014/main" val="3915498353"/>
                    </a:ext>
                  </a:extLst>
                </a:gridCol>
                <a:gridCol w="782826">
                  <a:extLst>
                    <a:ext uri="{9D8B030D-6E8A-4147-A177-3AD203B41FA5}">
                      <a16:colId xmlns:a16="http://schemas.microsoft.com/office/drawing/2014/main" val="1257172895"/>
                    </a:ext>
                  </a:extLst>
                </a:gridCol>
                <a:gridCol w="782826">
                  <a:extLst>
                    <a:ext uri="{9D8B030D-6E8A-4147-A177-3AD203B41FA5}">
                      <a16:colId xmlns:a16="http://schemas.microsoft.com/office/drawing/2014/main" val="2544282335"/>
                    </a:ext>
                  </a:extLst>
                </a:gridCol>
                <a:gridCol w="782826">
                  <a:extLst>
                    <a:ext uri="{9D8B030D-6E8A-4147-A177-3AD203B41FA5}">
                      <a16:colId xmlns:a16="http://schemas.microsoft.com/office/drawing/2014/main" val="1717016881"/>
                    </a:ext>
                  </a:extLst>
                </a:gridCol>
                <a:gridCol w="782826">
                  <a:extLst>
                    <a:ext uri="{9D8B030D-6E8A-4147-A177-3AD203B41FA5}">
                      <a16:colId xmlns:a16="http://schemas.microsoft.com/office/drawing/2014/main" val="2667713096"/>
                    </a:ext>
                  </a:extLst>
                </a:gridCol>
                <a:gridCol w="782826">
                  <a:extLst>
                    <a:ext uri="{9D8B030D-6E8A-4147-A177-3AD203B41FA5}">
                      <a16:colId xmlns:a16="http://schemas.microsoft.com/office/drawing/2014/main" val="2123313679"/>
                    </a:ext>
                  </a:extLst>
                </a:gridCol>
                <a:gridCol w="782826">
                  <a:extLst>
                    <a:ext uri="{9D8B030D-6E8A-4147-A177-3AD203B41FA5}">
                      <a16:colId xmlns:a16="http://schemas.microsoft.com/office/drawing/2014/main" val="3009037709"/>
                    </a:ext>
                  </a:extLst>
                </a:gridCol>
              </a:tblGrid>
              <a:tr h="360000">
                <a:tc>
                  <a:txBody>
                    <a:bodyPr/>
                    <a:lstStyle/>
                    <a:p>
                      <a:pPr algn="l" fontAlgn="b"/>
                      <a:r>
                        <a:rPr lang="es-CL" sz="1300" b="1" i="0" u="none" strike="noStrike">
                          <a:solidFill>
                            <a:schemeClr val="bg1"/>
                          </a:solidFill>
                          <a:effectLst/>
                          <a:latin typeface="Poppins" pitchFamily="2" charset="77"/>
                          <a:cs typeface="Poppins" pitchFamily="2" charset="77"/>
                        </a:rPr>
                        <a:t>CLP </a:t>
                      </a:r>
                      <a:r>
                        <a:rPr lang="es-CL" sz="1300" b="1" i="0" u="none" strike="noStrike" err="1">
                          <a:solidFill>
                            <a:schemeClr val="bg1"/>
                          </a:solidFill>
                          <a:effectLst/>
                          <a:latin typeface="Poppins" pitchFamily="2" charset="77"/>
                          <a:cs typeface="Poppins" pitchFamily="2" charset="77"/>
                        </a:rPr>
                        <a:t>Million</a:t>
                      </a:r>
                      <a:endParaRPr lang="es-CL" sz="1300" b="1" i="0" u="none" strike="noStrike">
                        <a:solidFill>
                          <a:schemeClr val="bg1"/>
                        </a:solidFill>
                        <a:effectLst/>
                        <a:latin typeface="Poppins" pitchFamily="2" charset="77"/>
                        <a:cs typeface="Poppins" pitchFamily="2" charset="77"/>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72A59"/>
                    </a:solidFill>
                  </a:tcPr>
                </a:tc>
                <a:tc>
                  <a:txBody>
                    <a:bodyPr/>
                    <a:lstStyle/>
                    <a:p>
                      <a:pPr algn="ctr" rtl="0" fontAlgn="b"/>
                      <a:r>
                        <a:rPr lang="es-CL" sz="1200" b="1" i="0" u="none" strike="noStrike">
                          <a:solidFill>
                            <a:srgbClr val="FFFFFF"/>
                          </a:solidFill>
                          <a:effectLst/>
                          <a:latin typeface="Poppins" panose="00000500000000000000" pitchFamily="2" charset="0"/>
                          <a:cs typeface="Poppins" panose="00000500000000000000" pitchFamily="2" charset="0"/>
                        </a:rPr>
                        <a:t>1Q25</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72A59"/>
                    </a:solidFill>
                  </a:tcPr>
                </a:tc>
                <a:tc>
                  <a:txBody>
                    <a:bodyPr/>
                    <a:lstStyle/>
                    <a:p>
                      <a:pPr algn="ctr" rtl="0" fontAlgn="b"/>
                      <a:r>
                        <a:rPr lang="es-CL" sz="1200" b="1" i="0" u="none" strike="noStrike">
                          <a:solidFill>
                            <a:srgbClr val="FFFFFF"/>
                          </a:solidFill>
                          <a:effectLst/>
                          <a:latin typeface="Poppins" panose="00000500000000000000" pitchFamily="2" charset="0"/>
                          <a:cs typeface="Poppins" panose="00000500000000000000" pitchFamily="2" charset="0"/>
                        </a:rPr>
                        <a:t>1Q24</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72A59"/>
                    </a:solidFill>
                  </a:tcPr>
                </a:tc>
                <a:tc>
                  <a:txBody>
                    <a:bodyPr/>
                    <a:lstStyle/>
                    <a:p>
                      <a:pPr algn="ctr" rtl="0" fontAlgn="b"/>
                      <a:r>
                        <a:rPr lang="es-CL" sz="1200" b="1" i="0" u="none" strike="noStrike">
                          <a:solidFill>
                            <a:srgbClr val="FFFFFF"/>
                          </a:solidFill>
                          <a:effectLst/>
                          <a:latin typeface="Poppins" panose="00000500000000000000" pitchFamily="2" charset="0"/>
                          <a:cs typeface="Poppins" panose="00000500000000000000" pitchFamily="2" charset="0"/>
                        </a:rPr>
                        <a:t>Var. (%)</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72A59"/>
                    </a:solidFill>
                  </a:tcPr>
                </a:tc>
                <a:tc>
                  <a:txBody>
                    <a:bodyPr/>
                    <a:lstStyle/>
                    <a:p>
                      <a:pPr algn="ctr" rtl="0" fontAlgn="b"/>
                      <a:r>
                        <a:rPr lang="es-CL" sz="1200" b="1" i="0" u="none" strike="noStrike">
                          <a:solidFill>
                            <a:srgbClr val="FFFFFF"/>
                          </a:solidFill>
                          <a:effectLst/>
                          <a:latin typeface="Poppins" panose="00000500000000000000" pitchFamily="2" charset="0"/>
                          <a:cs typeface="Poppins" panose="00000500000000000000" pitchFamily="2" charset="0"/>
                        </a:rPr>
                        <a:t>3M25</a:t>
                      </a:r>
                    </a:p>
                  </a:txBody>
                  <a:tcPr marL="0" marR="0" marT="0"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72A59"/>
                    </a:solidFill>
                  </a:tcPr>
                </a:tc>
                <a:tc>
                  <a:txBody>
                    <a:bodyPr/>
                    <a:lstStyle/>
                    <a:p>
                      <a:pPr algn="ctr" rtl="0" fontAlgn="b"/>
                      <a:r>
                        <a:rPr lang="es-CL" sz="1200" b="1" i="0" u="none" strike="noStrike">
                          <a:solidFill>
                            <a:srgbClr val="FFFFFF"/>
                          </a:solidFill>
                          <a:effectLst/>
                          <a:latin typeface="Poppins" panose="00000500000000000000" pitchFamily="2" charset="0"/>
                          <a:cs typeface="Poppins" panose="00000500000000000000" pitchFamily="2" charset="0"/>
                        </a:rPr>
                        <a:t>3M24</a:t>
                      </a:r>
                    </a:p>
                  </a:txBody>
                  <a:tcPr marL="0" marR="0" marT="0"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72A59"/>
                    </a:solidFill>
                  </a:tcPr>
                </a:tc>
                <a:tc>
                  <a:txBody>
                    <a:bodyPr/>
                    <a:lstStyle/>
                    <a:p>
                      <a:pPr algn="ctr" rtl="0" fontAlgn="b"/>
                      <a:r>
                        <a:rPr lang="es-CL" sz="1200" b="1" i="0" u="none" strike="noStrike">
                          <a:solidFill>
                            <a:srgbClr val="FFFFFF"/>
                          </a:solidFill>
                          <a:effectLst/>
                          <a:latin typeface="Poppins" panose="00000500000000000000" pitchFamily="2" charset="0"/>
                          <a:cs typeface="Poppins" panose="00000500000000000000" pitchFamily="2" charset="0"/>
                        </a:rPr>
                        <a:t>Var. (%)</a:t>
                      </a:r>
                    </a:p>
                  </a:txBody>
                  <a:tcPr marL="0" marR="0" marT="0"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72A59"/>
                    </a:solidFill>
                  </a:tcPr>
                </a:tc>
                <a:extLst>
                  <a:ext uri="{0D108BD9-81ED-4DB2-BD59-A6C34878D82A}">
                    <a16:rowId xmlns:a16="http://schemas.microsoft.com/office/drawing/2014/main" val="1338606255"/>
                  </a:ext>
                </a:extLst>
              </a:tr>
              <a:tr h="252000">
                <a:tc>
                  <a:txBody>
                    <a:bodyPr/>
                    <a:lstStyle/>
                    <a:p>
                      <a:pPr algn="l" fontAlgn="b"/>
                      <a:r>
                        <a:rPr lang="es-CL" sz="1100" b="0" i="0" u="none" strike="noStrike" kern="1200" err="1">
                          <a:solidFill>
                            <a:schemeClr val="tx1"/>
                          </a:solidFill>
                          <a:effectLst/>
                          <a:latin typeface="Poppins" pitchFamily="2" charset="77"/>
                          <a:ea typeface="+mn-ea"/>
                          <a:cs typeface="Poppins" pitchFamily="2" charset="77"/>
                        </a:rPr>
                        <a:t>Revenues</a:t>
                      </a:r>
                      <a:endParaRPr lang="es-CL" sz="1100" b="0" i="0" u="none" strike="noStrike" kern="1200">
                        <a:solidFill>
                          <a:schemeClr val="tx1"/>
                        </a:solidFill>
                        <a:effectLst/>
                        <a:latin typeface="Poppins" pitchFamily="2" charset="77"/>
                        <a:ea typeface="+mn-ea"/>
                        <a:cs typeface="Poppins" pitchFamily="2" charset="77"/>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90,273</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82,016</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10.1%</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90,273</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82,016</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10.1%</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72796181"/>
                  </a:ext>
                </a:extLst>
              </a:tr>
              <a:tr h="252000">
                <a:tc>
                  <a:txBody>
                    <a:bodyPr/>
                    <a:lstStyle/>
                    <a:p>
                      <a:pPr algn="l" fontAlgn="b"/>
                      <a:r>
                        <a:rPr lang="es-CL" sz="1100" b="0" i="0" u="none" strike="noStrike" kern="1200">
                          <a:solidFill>
                            <a:schemeClr val="tx1"/>
                          </a:solidFill>
                          <a:effectLst/>
                          <a:latin typeface="Poppins" pitchFamily="2" charset="77"/>
                          <a:ea typeface="+mn-ea"/>
                          <a:cs typeface="Poppins" pitchFamily="2" charset="77"/>
                        </a:rPr>
                        <a:t>Adj. EBITDA (NOI)</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81,375</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73,204</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11.2%</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81,375</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73,204</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11.2%</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6068651"/>
                  </a:ext>
                </a:extLst>
              </a:tr>
              <a:tr h="252000">
                <a:tc>
                  <a:txBody>
                    <a:bodyPr/>
                    <a:lstStyle/>
                    <a:p>
                      <a:pPr algn="l" fontAlgn="b"/>
                      <a:r>
                        <a:rPr lang="es-CL" sz="1100" b="0" i="0" u="none" strike="noStrike" kern="1200">
                          <a:solidFill>
                            <a:schemeClr val="tx1"/>
                          </a:solidFill>
                          <a:effectLst/>
                          <a:latin typeface="Poppins" pitchFamily="2" charset="77"/>
                          <a:ea typeface="+mn-ea"/>
                          <a:cs typeface="Poppins" pitchFamily="2" charset="77"/>
                        </a:rPr>
                        <a:t>% Adj. EBITDA (NOI)</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90.1%</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89.3%</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 89 bps </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90.1%</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89.3%</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 89 bps </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3377922"/>
                  </a:ext>
                </a:extLst>
              </a:tr>
              <a:tr h="252000">
                <a:tc>
                  <a:txBody>
                    <a:bodyPr/>
                    <a:lstStyle/>
                    <a:p>
                      <a:pPr algn="l" fontAlgn="b"/>
                      <a:r>
                        <a:rPr lang="es-CL" sz="1100" b="0" i="0" u="none" strike="noStrike" kern="1200">
                          <a:solidFill>
                            <a:schemeClr val="tx1"/>
                          </a:solidFill>
                          <a:effectLst/>
                          <a:latin typeface="Poppins" pitchFamily="2" charset="77"/>
                          <a:ea typeface="+mn-ea"/>
                          <a:cs typeface="Poppins" pitchFamily="2" charset="77"/>
                        </a:rPr>
                        <a:t>FFO</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62,462</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58,577</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6.6%</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62,462</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58,577</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6.6%</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5394361"/>
                  </a:ext>
                </a:extLst>
              </a:tr>
              <a:tr h="252000">
                <a:tc>
                  <a:txBody>
                    <a:bodyPr/>
                    <a:lstStyle/>
                    <a:p>
                      <a:pPr algn="l" fontAlgn="b"/>
                      <a:r>
                        <a:rPr lang="es-CL" sz="1100" b="0" i="0" u="none" strike="noStrike" kern="1200">
                          <a:solidFill>
                            <a:schemeClr val="tx1"/>
                          </a:solidFill>
                          <a:effectLst/>
                          <a:latin typeface="Poppins" pitchFamily="2" charset="77"/>
                          <a:ea typeface="+mn-ea"/>
                          <a:cs typeface="Poppins" pitchFamily="2" charset="77"/>
                        </a:rPr>
                        <a:t>Net </a:t>
                      </a:r>
                      <a:r>
                        <a:rPr lang="es-CL" sz="1100" b="0" i="0" u="none" strike="noStrike" kern="1200" err="1">
                          <a:solidFill>
                            <a:schemeClr val="tx1"/>
                          </a:solidFill>
                          <a:effectLst/>
                          <a:latin typeface="Poppins" pitchFamily="2" charset="77"/>
                          <a:ea typeface="+mn-ea"/>
                          <a:cs typeface="Poppins" pitchFamily="2" charset="77"/>
                        </a:rPr>
                        <a:t>Income</a:t>
                      </a:r>
                      <a:r>
                        <a:rPr lang="es-CL" sz="1100" b="0" i="0" u="none" strike="noStrike" kern="1200">
                          <a:solidFill>
                            <a:schemeClr val="tx1"/>
                          </a:solidFill>
                          <a:effectLst/>
                          <a:latin typeface="Poppins" pitchFamily="2" charset="77"/>
                          <a:ea typeface="+mn-ea"/>
                          <a:cs typeface="Poppins" pitchFamily="2" charset="77"/>
                        </a:rPr>
                        <a:t> excl. </a:t>
                      </a:r>
                      <a:r>
                        <a:rPr lang="es-CL" sz="1100" b="0" i="0" u="none" strike="noStrike" kern="1200" err="1">
                          <a:solidFill>
                            <a:schemeClr val="tx1"/>
                          </a:solidFill>
                          <a:effectLst/>
                          <a:latin typeface="Poppins" pitchFamily="2" charset="77"/>
                          <a:ea typeface="+mn-ea"/>
                          <a:cs typeface="Poppins" pitchFamily="2" charset="77"/>
                        </a:rPr>
                        <a:t>asset</a:t>
                      </a:r>
                      <a:r>
                        <a:rPr lang="es-CL" sz="1100" b="0" i="0" u="none" strike="noStrike" kern="1200">
                          <a:solidFill>
                            <a:schemeClr val="tx1"/>
                          </a:solidFill>
                          <a:effectLst/>
                          <a:latin typeface="Poppins" pitchFamily="2" charset="77"/>
                          <a:ea typeface="+mn-ea"/>
                          <a:cs typeface="Poppins" pitchFamily="2" charset="77"/>
                        </a:rPr>
                        <a:t> </a:t>
                      </a:r>
                      <a:r>
                        <a:rPr lang="es-CL" sz="1100" b="0" i="0" u="none" strike="noStrike" kern="1200" err="1">
                          <a:solidFill>
                            <a:schemeClr val="tx1"/>
                          </a:solidFill>
                          <a:effectLst/>
                          <a:latin typeface="Poppins" pitchFamily="2" charset="77"/>
                          <a:ea typeface="+mn-ea"/>
                          <a:cs typeface="Poppins" pitchFamily="2" charset="77"/>
                        </a:rPr>
                        <a:t>revaluation</a:t>
                      </a:r>
                      <a:endParaRPr lang="es-CL" sz="1100" b="0" i="0" u="none" strike="noStrike" kern="1200">
                        <a:solidFill>
                          <a:schemeClr val="tx1"/>
                        </a:solidFill>
                        <a:effectLst/>
                        <a:latin typeface="Poppins" pitchFamily="2" charset="77"/>
                        <a:ea typeface="+mn-ea"/>
                        <a:cs typeface="Poppins" pitchFamily="2" charset="77"/>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52,540</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54,529</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3.6%</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52,540</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54,529</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3.6%</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5084562"/>
                  </a:ext>
                </a:extLst>
              </a:tr>
              <a:tr h="252000">
                <a:tc>
                  <a:txBody>
                    <a:bodyPr/>
                    <a:lstStyle/>
                    <a:p>
                      <a:pPr algn="l" fontAlgn="b"/>
                      <a:r>
                        <a:rPr lang="es-CL" sz="1100" b="0" i="0" u="none" strike="noStrike" kern="1200" err="1">
                          <a:solidFill>
                            <a:schemeClr val="tx1"/>
                          </a:solidFill>
                          <a:effectLst/>
                          <a:latin typeface="Poppins" pitchFamily="2" charset="77"/>
                          <a:ea typeface="+mn-ea"/>
                          <a:cs typeface="Poppins" pitchFamily="2" charset="77"/>
                        </a:rPr>
                        <a:t>Distributable</a:t>
                      </a:r>
                      <a:r>
                        <a:rPr lang="es-CL" sz="1100" b="0" i="0" u="none" strike="noStrike" kern="1200">
                          <a:solidFill>
                            <a:schemeClr val="tx1"/>
                          </a:solidFill>
                          <a:effectLst/>
                          <a:latin typeface="Poppins" pitchFamily="2" charset="77"/>
                          <a:ea typeface="+mn-ea"/>
                          <a:cs typeface="Poppins" pitchFamily="2" charset="77"/>
                        </a:rPr>
                        <a:t> Net </a:t>
                      </a:r>
                      <a:r>
                        <a:rPr lang="es-CL" sz="1100" b="0" i="0" u="none" strike="noStrike" kern="1200" err="1">
                          <a:solidFill>
                            <a:schemeClr val="tx1"/>
                          </a:solidFill>
                          <a:effectLst/>
                          <a:latin typeface="Poppins" pitchFamily="2" charset="77"/>
                          <a:ea typeface="+mn-ea"/>
                          <a:cs typeface="Poppins" pitchFamily="2" charset="77"/>
                        </a:rPr>
                        <a:t>Income</a:t>
                      </a:r>
                      <a:endParaRPr lang="es-CL" sz="1100" b="0" i="0" u="none" strike="noStrike" kern="1200">
                        <a:solidFill>
                          <a:schemeClr val="tx1"/>
                        </a:solidFill>
                        <a:effectLst/>
                        <a:latin typeface="Poppins" pitchFamily="2" charset="77"/>
                        <a:ea typeface="+mn-ea"/>
                        <a:cs typeface="Poppins" pitchFamily="2" charset="77"/>
                      </a:endParaRPr>
                    </a:p>
                  </a:txBody>
                  <a:tcPr marL="0" marR="0" marT="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52,524</a:t>
                      </a:r>
                    </a:p>
                  </a:txBody>
                  <a:tcPr marL="0" marR="0" marT="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54,539</a:t>
                      </a:r>
                    </a:p>
                  </a:txBody>
                  <a:tcPr marL="0" marR="0" marT="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3.7%</a:t>
                      </a:r>
                    </a:p>
                  </a:txBody>
                  <a:tcPr marL="0" marR="0" marT="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52,524</a:t>
                      </a:r>
                    </a:p>
                  </a:txBody>
                  <a:tcPr marL="0" marR="0" marT="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54,539</a:t>
                      </a:r>
                    </a:p>
                  </a:txBody>
                  <a:tcPr marL="0" marR="0" marT="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r" defTabSz="914400" rtl="0" eaLnBrk="1" fontAlgn="b" latinLnBrk="0" hangingPunct="1"/>
                      <a:r>
                        <a:rPr lang="es-CL" sz="1100" b="0" i="0" u="none" strike="noStrike" kern="1200">
                          <a:solidFill>
                            <a:schemeClr val="tx1"/>
                          </a:solidFill>
                          <a:effectLst/>
                          <a:latin typeface="Poppins" pitchFamily="2" charset="77"/>
                          <a:ea typeface="+mn-ea"/>
                          <a:cs typeface="Poppins" pitchFamily="2" charset="77"/>
                        </a:rPr>
                        <a:t>-3.7%</a:t>
                      </a:r>
                    </a:p>
                  </a:txBody>
                  <a:tcPr marL="0" marR="0" marT="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706640049"/>
                  </a:ext>
                </a:extLst>
              </a:tr>
            </a:tbl>
          </a:graphicData>
        </a:graphic>
      </p:graphicFrame>
      <p:sp>
        <p:nvSpPr>
          <p:cNvPr id="2" name="Marcador de número de diapositiva 1">
            <a:extLst>
              <a:ext uri="{FF2B5EF4-FFF2-40B4-BE49-F238E27FC236}">
                <a16:creationId xmlns:a16="http://schemas.microsoft.com/office/drawing/2014/main" id="{E9865562-76A2-4FEB-3C42-3B28B0234092}"/>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10</a:t>
            </a:fld>
            <a:endParaRPr lang="es-CL"/>
          </a:p>
        </p:txBody>
      </p:sp>
      <p:sp>
        <p:nvSpPr>
          <p:cNvPr id="3" name="Título 1">
            <a:extLst>
              <a:ext uri="{FF2B5EF4-FFF2-40B4-BE49-F238E27FC236}">
                <a16:creationId xmlns:a16="http://schemas.microsoft.com/office/drawing/2014/main" id="{EC131ACB-3B3B-571F-5A73-70083FE32840}"/>
              </a:ext>
            </a:extLst>
          </p:cNvPr>
          <p:cNvSpPr txBox="1">
            <a:spLocks/>
          </p:cNvSpPr>
          <p:nvPr/>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tx2"/>
                </a:solidFill>
                <a:latin typeface="Poppins" pitchFamily="2" charset="77"/>
                <a:cs typeface="Poppins" pitchFamily="2" charset="77"/>
              </a:rPr>
              <a:t>Earning</a:t>
            </a:r>
            <a:r>
              <a:rPr lang="es-MX" sz="800" b="1">
                <a:solidFill>
                  <a:schemeClr val="tx2"/>
                </a:solidFill>
                <a:latin typeface="Poppins" pitchFamily="2" charset="77"/>
                <a:cs typeface="Poppins" pitchFamily="2" charset="77"/>
              </a:rPr>
              <a:t> </a:t>
            </a:r>
            <a:r>
              <a:rPr lang="es-MX" sz="800" b="1" err="1">
                <a:solidFill>
                  <a:schemeClr val="tx2"/>
                </a:solidFill>
                <a:latin typeface="Poppins" pitchFamily="2" charset="77"/>
                <a:cs typeface="Poppins" pitchFamily="2" charset="77"/>
              </a:rPr>
              <a:t>Presentation</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First</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Quarter</a:t>
            </a:r>
            <a:r>
              <a:rPr lang="es-MX" sz="800" b="0">
                <a:solidFill>
                  <a:schemeClr val="tx2"/>
                </a:solidFill>
                <a:latin typeface="Poppins" pitchFamily="2" charset="77"/>
                <a:cs typeface="Poppins" pitchFamily="2" charset="77"/>
              </a:rPr>
              <a:t> 2025</a:t>
            </a:r>
            <a:endParaRPr lang="es-CL" sz="800" b="0">
              <a:solidFill>
                <a:schemeClr val="tx2"/>
              </a:solidFill>
              <a:latin typeface="Poppins" pitchFamily="2" charset="77"/>
              <a:cs typeface="Poppins" pitchFamily="2" charset="77"/>
            </a:endParaRPr>
          </a:p>
        </p:txBody>
      </p:sp>
    </p:spTree>
    <p:extLst>
      <p:ext uri="{BB962C8B-B14F-4D97-AF65-F5344CB8AC3E}">
        <p14:creationId xmlns:p14="http://schemas.microsoft.com/office/powerpoint/2010/main" val="26398955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6671726-3BCD-F3FA-F071-A4A61FC92580}"/>
              </a:ext>
            </a:extLst>
          </p:cNvPr>
          <p:cNvGraphicFramePr>
            <a:graphicFrameLocks noChangeAspect="1"/>
          </p:cNvGraphicFramePr>
          <p:nvPr>
            <p:custDataLst>
              <p:tags r:id="rId1"/>
            </p:custDataLst>
            <p:extLst>
              <p:ext uri="{D42A27DB-BD31-4B8C-83A1-F6EECF244321}">
                <p14:modId xmlns:p14="http://schemas.microsoft.com/office/powerpoint/2010/main" val="896768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6" imgW="395" imgH="396" progId="TCLayout.ActiveDocument.1">
                  <p:embed/>
                </p:oleObj>
              </mc:Choice>
              <mc:Fallback>
                <p:oleObj name="Diapositiva de think-cell" r:id="rId16" imgW="395" imgH="396" progId="TCLayout.ActiveDocument.1">
                  <p:embed/>
                  <p:pic>
                    <p:nvPicPr>
                      <p:cNvPr id="7" name="think-cell data - do not delete" hidden="1">
                        <a:extLst>
                          <a:ext uri="{FF2B5EF4-FFF2-40B4-BE49-F238E27FC236}">
                            <a16:creationId xmlns:a16="http://schemas.microsoft.com/office/drawing/2014/main" id="{D6671726-3BCD-F3FA-F071-A4A61FC9258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0" name="Rectángulo: esquinas redondeadas 59">
            <a:extLst>
              <a:ext uri="{FF2B5EF4-FFF2-40B4-BE49-F238E27FC236}">
                <a16:creationId xmlns:a16="http://schemas.microsoft.com/office/drawing/2014/main" id="{B54F7647-63BA-1BD8-2528-0A46738ADBD8}"/>
              </a:ext>
            </a:extLst>
          </p:cNvPr>
          <p:cNvSpPr/>
          <p:nvPr/>
        </p:nvSpPr>
        <p:spPr>
          <a:xfrm>
            <a:off x="5991225" y="1007846"/>
            <a:ext cx="6050385" cy="338127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schemeClr val="tx1"/>
              </a:solidFill>
              <a:latin typeface="Lufga" pitchFamily="2" charset="77"/>
            </a:endParaRPr>
          </a:p>
        </p:txBody>
      </p:sp>
      <p:pic>
        <p:nvPicPr>
          <p:cNvPr id="48" name="Imagen 47">
            <a:extLst>
              <a:ext uri="{FF2B5EF4-FFF2-40B4-BE49-F238E27FC236}">
                <a16:creationId xmlns:a16="http://schemas.microsoft.com/office/drawing/2014/main" id="{FB1E5F11-58F6-DCB3-1179-FB34140E407C}"/>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r="14983" b="46881"/>
          <a:stretch/>
        </p:blipFill>
        <p:spPr>
          <a:xfrm>
            <a:off x="5749484" y="4721218"/>
            <a:ext cx="6393725" cy="2136782"/>
          </a:xfrm>
          <a:prstGeom prst="rect">
            <a:avLst/>
          </a:prstGeom>
        </p:spPr>
      </p:pic>
      <p:sp>
        <p:nvSpPr>
          <p:cNvPr id="13" name="Marcador de texto 2">
            <a:extLst>
              <a:ext uri="{FF2B5EF4-FFF2-40B4-BE49-F238E27FC236}">
                <a16:creationId xmlns:a16="http://schemas.microsoft.com/office/drawing/2014/main" id="{E1155BB1-9302-DCB7-58D8-3733BC839F4F}"/>
              </a:ext>
            </a:extLst>
          </p:cNvPr>
          <p:cNvSpPr>
            <a:spLocks noGrp="1"/>
          </p:cNvSpPr>
          <p:nvPr>
            <p:custDataLst>
              <p:tags r:id="rId2"/>
            </p:custDataLst>
          </p:nvPr>
        </p:nvSpPr>
        <p:spPr bwMode="auto">
          <a:xfrm>
            <a:off x="6749911" y="1685238"/>
            <a:ext cx="9604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endParaRPr lang="es-CL" sz="1400" b="1">
              <a:solidFill>
                <a:srgbClr val="767171"/>
              </a:solidFill>
              <a:latin typeface="Montserrat" pitchFamily="2" charset="77"/>
            </a:endParaRPr>
          </a:p>
        </p:txBody>
      </p:sp>
      <p:sp>
        <p:nvSpPr>
          <p:cNvPr id="5" name="Rectángulo 4">
            <a:extLst>
              <a:ext uri="{FF2B5EF4-FFF2-40B4-BE49-F238E27FC236}">
                <a16:creationId xmlns:a16="http://schemas.microsoft.com/office/drawing/2014/main" id="{C437BF02-472D-CCD6-FD5A-E3D7F54EAB8E}"/>
              </a:ext>
            </a:extLst>
          </p:cNvPr>
          <p:cNvSpPr/>
          <p:nvPr/>
        </p:nvSpPr>
        <p:spPr>
          <a:xfrm>
            <a:off x="809960" y="1227160"/>
            <a:ext cx="3691255" cy="400050"/>
          </a:xfrm>
          <a:prstGeom prst="rect">
            <a:avLst/>
          </a:prstGeom>
        </p:spPr>
        <p:txBody>
          <a:bodyPr wrap="square">
            <a:spAutoFit/>
          </a:bodyPr>
          <a:lstStyle/>
          <a:p>
            <a:r>
              <a:rPr lang="es-CL" sz="2000" b="1" err="1">
                <a:solidFill>
                  <a:srgbClr val="021766"/>
                </a:solidFill>
                <a:latin typeface="Montserrat" panose="00000500000000000000" pitchFamily="2" charset="0"/>
              </a:rPr>
              <a:t>Revenue</a:t>
            </a:r>
            <a:r>
              <a:rPr lang="es-CL" sz="2000" b="1">
                <a:solidFill>
                  <a:srgbClr val="021766"/>
                </a:solidFill>
                <a:latin typeface="Montserrat" panose="00000500000000000000" pitchFamily="2" charset="0"/>
              </a:rPr>
              <a:t> </a:t>
            </a:r>
            <a:r>
              <a:rPr lang="es-CL" sz="2000" b="1" err="1">
                <a:solidFill>
                  <a:srgbClr val="021766"/>
                </a:solidFill>
                <a:latin typeface="Montserrat" panose="00000500000000000000" pitchFamily="2" charset="0"/>
              </a:rPr>
              <a:t>Breakdown</a:t>
            </a:r>
            <a:endParaRPr lang="es-CL" sz="2000" b="1" baseline="30000">
              <a:solidFill>
                <a:srgbClr val="021766"/>
              </a:solidFill>
              <a:latin typeface="Montserrat" panose="00000500000000000000" pitchFamily="2" charset="0"/>
            </a:endParaRPr>
          </a:p>
        </p:txBody>
      </p:sp>
      <p:grpSp>
        <p:nvGrpSpPr>
          <p:cNvPr id="9" name="Grupo 8">
            <a:extLst>
              <a:ext uri="{FF2B5EF4-FFF2-40B4-BE49-F238E27FC236}">
                <a16:creationId xmlns:a16="http://schemas.microsoft.com/office/drawing/2014/main" id="{832F538D-AA3A-FB72-21E9-4F10EBE34DA5}"/>
              </a:ext>
            </a:extLst>
          </p:cNvPr>
          <p:cNvGrpSpPr/>
          <p:nvPr/>
        </p:nvGrpSpPr>
        <p:grpSpPr>
          <a:xfrm>
            <a:off x="202466" y="4936937"/>
            <a:ext cx="2463893" cy="1351594"/>
            <a:chOff x="9033174" y="4482117"/>
            <a:chExt cx="2622825" cy="1405742"/>
          </a:xfrm>
          <a:effectLst/>
        </p:grpSpPr>
        <p:sp>
          <p:nvSpPr>
            <p:cNvPr id="10" name="Rectángulo redondeado 46">
              <a:extLst>
                <a:ext uri="{FF2B5EF4-FFF2-40B4-BE49-F238E27FC236}">
                  <a16:creationId xmlns:a16="http://schemas.microsoft.com/office/drawing/2014/main" id="{952AF81B-3075-5780-84D5-F9928B074605}"/>
                </a:ext>
              </a:extLst>
            </p:cNvPr>
            <p:cNvSpPr/>
            <p:nvPr/>
          </p:nvSpPr>
          <p:spPr>
            <a:xfrm>
              <a:off x="9033174" y="4482117"/>
              <a:ext cx="2622825" cy="1405742"/>
            </a:xfrm>
            <a:prstGeom prst="roundRect">
              <a:avLst>
                <a:gd name="adj" fmla="val 11496"/>
              </a:avLst>
            </a:prstGeom>
            <a:solidFill>
              <a:srgbClr val="8200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entury Gothic" panose="020B0502020202020204" pitchFamily="34" charset="0"/>
              </a:endParaRPr>
            </a:p>
          </p:txBody>
        </p:sp>
        <p:sp>
          <p:nvSpPr>
            <p:cNvPr id="23" name="Rectángulo 22">
              <a:extLst>
                <a:ext uri="{FF2B5EF4-FFF2-40B4-BE49-F238E27FC236}">
                  <a16:creationId xmlns:a16="http://schemas.microsoft.com/office/drawing/2014/main" id="{8742FF55-FD65-1954-FE38-F21382267185}"/>
                </a:ext>
              </a:extLst>
            </p:cNvPr>
            <p:cNvSpPr/>
            <p:nvPr/>
          </p:nvSpPr>
          <p:spPr>
            <a:xfrm>
              <a:off x="9166245" y="4654605"/>
              <a:ext cx="2482850" cy="1120374"/>
            </a:xfrm>
            <a:prstGeom prst="rect">
              <a:avLst/>
            </a:prstGeom>
          </p:spPr>
          <p:txBody>
            <a:bodyPr wrap="square">
              <a:spAutoFit/>
            </a:bodyPr>
            <a:lstStyle/>
            <a:p>
              <a:pPr algn="ctr"/>
              <a:r>
                <a:rPr lang="es-CL" sz="3600" b="1" dirty="0">
                  <a:solidFill>
                    <a:schemeClr val="bg1"/>
                  </a:solidFill>
                  <a:latin typeface="Montserrat" panose="00000500000000000000" pitchFamily="2" charset="0"/>
                </a:rPr>
                <a:t>71.4%</a:t>
              </a:r>
              <a:endParaRPr lang="es-CL" sz="3600" b="1" baseline="30000" dirty="0">
                <a:solidFill>
                  <a:schemeClr val="bg1"/>
                </a:solidFill>
                <a:latin typeface="Montserrat" panose="00000500000000000000" pitchFamily="2" charset="0"/>
              </a:endParaRPr>
            </a:p>
            <a:p>
              <a:pPr algn="ctr"/>
              <a:r>
                <a:rPr lang="es-CL" sz="1400" b="1" dirty="0" err="1">
                  <a:solidFill>
                    <a:schemeClr val="bg1"/>
                  </a:solidFill>
                  <a:latin typeface="Montserrat" panose="00000500000000000000" pitchFamily="2" charset="0"/>
                </a:rPr>
                <a:t>Maturity</a:t>
              </a:r>
              <a:r>
                <a:rPr lang="es-CL" sz="1400" b="1" dirty="0">
                  <a:solidFill>
                    <a:schemeClr val="bg1"/>
                  </a:solidFill>
                  <a:latin typeface="Montserrat" panose="00000500000000000000" pitchFamily="2" charset="0"/>
                </a:rPr>
                <a:t> </a:t>
              </a:r>
              <a:r>
                <a:rPr lang="es-CL" sz="1400" b="1" dirty="0" err="1">
                  <a:solidFill>
                    <a:schemeClr val="bg1"/>
                  </a:solidFill>
                  <a:latin typeface="Montserrat" panose="00000500000000000000" pitchFamily="2" charset="0"/>
                </a:rPr>
                <a:t>of</a:t>
              </a:r>
              <a:r>
                <a:rPr lang="es-CL" sz="1400" b="1" dirty="0">
                  <a:solidFill>
                    <a:schemeClr val="bg1"/>
                  </a:solidFill>
                  <a:latin typeface="Montserrat" panose="00000500000000000000" pitchFamily="2" charset="0"/>
                </a:rPr>
                <a:t> </a:t>
              </a:r>
              <a:r>
                <a:rPr lang="es-CL" sz="1400" b="1" dirty="0" err="1">
                  <a:solidFill>
                    <a:schemeClr val="bg1"/>
                  </a:solidFill>
                  <a:latin typeface="Montserrat" panose="00000500000000000000" pitchFamily="2" charset="0"/>
                </a:rPr>
                <a:t>over</a:t>
              </a:r>
              <a:r>
                <a:rPr lang="es-CL" sz="1400" b="1" dirty="0">
                  <a:solidFill>
                    <a:schemeClr val="bg1"/>
                  </a:solidFill>
                  <a:latin typeface="Montserrat" panose="00000500000000000000" pitchFamily="2" charset="0"/>
                </a:rPr>
                <a:t> 5 </a:t>
              </a:r>
              <a:br>
                <a:rPr lang="es-CL" sz="1400" b="1" dirty="0">
                  <a:solidFill>
                    <a:schemeClr val="bg1"/>
                  </a:solidFill>
                  <a:latin typeface="Montserrat" panose="00000500000000000000" pitchFamily="2" charset="0"/>
                </a:rPr>
              </a:br>
              <a:r>
                <a:rPr lang="es-CL" sz="1400" b="1" dirty="0" err="1">
                  <a:solidFill>
                    <a:schemeClr val="bg1"/>
                  </a:solidFill>
                  <a:latin typeface="Montserrat" panose="00000500000000000000" pitchFamily="2" charset="0"/>
                </a:rPr>
                <a:t>years</a:t>
              </a:r>
              <a:endParaRPr lang="es-CL" sz="1400" b="1" dirty="0">
                <a:solidFill>
                  <a:schemeClr val="bg1"/>
                </a:solidFill>
                <a:latin typeface="Montserrat" panose="00000500000000000000" pitchFamily="2" charset="0"/>
              </a:endParaRPr>
            </a:p>
          </p:txBody>
        </p:sp>
      </p:grpSp>
      <p:grpSp>
        <p:nvGrpSpPr>
          <p:cNvPr id="24" name="Grupo 23">
            <a:extLst>
              <a:ext uri="{FF2B5EF4-FFF2-40B4-BE49-F238E27FC236}">
                <a16:creationId xmlns:a16="http://schemas.microsoft.com/office/drawing/2014/main" id="{25C6908D-AB11-799C-72CB-AFA3EF6E7FDC}"/>
              </a:ext>
            </a:extLst>
          </p:cNvPr>
          <p:cNvGrpSpPr/>
          <p:nvPr/>
        </p:nvGrpSpPr>
        <p:grpSpPr>
          <a:xfrm>
            <a:off x="2982907" y="4936554"/>
            <a:ext cx="2682787" cy="1360022"/>
            <a:chOff x="9033174" y="4482116"/>
            <a:chExt cx="2671295" cy="1405742"/>
          </a:xfrm>
        </p:grpSpPr>
        <p:sp>
          <p:nvSpPr>
            <p:cNvPr id="25" name="Rectángulo redondeado 46">
              <a:extLst>
                <a:ext uri="{FF2B5EF4-FFF2-40B4-BE49-F238E27FC236}">
                  <a16:creationId xmlns:a16="http://schemas.microsoft.com/office/drawing/2014/main" id="{DD07C8CE-2F81-0CA9-0F05-7D060A274763}"/>
                </a:ext>
              </a:extLst>
            </p:cNvPr>
            <p:cNvSpPr/>
            <p:nvPr/>
          </p:nvSpPr>
          <p:spPr>
            <a:xfrm>
              <a:off x="9033174" y="4482116"/>
              <a:ext cx="2622825" cy="1405742"/>
            </a:xfrm>
            <a:prstGeom prst="roundRect">
              <a:avLst>
                <a:gd name="adj" fmla="val 11496"/>
              </a:avLst>
            </a:prstGeom>
            <a:solidFill>
              <a:srgbClr val="8200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600">
                <a:latin typeface="Century Gothic" panose="020B0502020202020204" pitchFamily="34" charset="0"/>
              </a:endParaRPr>
            </a:p>
          </p:txBody>
        </p:sp>
        <p:sp>
          <p:nvSpPr>
            <p:cNvPr id="26" name="Rectángulo 25">
              <a:extLst>
                <a:ext uri="{FF2B5EF4-FFF2-40B4-BE49-F238E27FC236}">
                  <a16:creationId xmlns:a16="http://schemas.microsoft.com/office/drawing/2014/main" id="{4635E341-ED4B-9C56-5C8D-CFDBF0D95231}"/>
                </a:ext>
              </a:extLst>
            </p:cNvPr>
            <p:cNvSpPr/>
            <p:nvPr/>
          </p:nvSpPr>
          <p:spPr>
            <a:xfrm>
              <a:off x="9033175" y="4654604"/>
              <a:ext cx="2671294" cy="1113431"/>
            </a:xfrm>
            <a:prstGeom prst="rect">
              <a:avLst/>
            </a:prstGeom>
          </p:spPr>
          <p:txBody>
            <a:bodyPr wrap="square">
              <a:spAutoFit/>
            </a:bodyPr>
            <a:lstStyle/>
            <a:p>
              <a:pPr algn="ctr"/>
              <a:r>
                <a:rPr lang="es-CL" sz="3600" b="1">
                  <a:solidFill>
                    <a:schemeClr val="bg1"/>
                  </a:solidFill>
                  <a:latin typeface="Montserrat" panose="00000500000000000000" pitchFamily="2" charset="0"/>
                </a:rPr>
                <a:t>~10.2 </a:t>
              </a:r>
              <a:r>
                <a:rPr lang="es-CL" sz="2400" b="1" err="1">
                  <a:solidFill>
                    <a:schemeClr val="bg1"/>
                  </a:solidFill>
                  <a:latin typeface="Montserrat" panose="00000500000000000000" pitchFamily="2" charset="0"/>
                </a:rPr>
                <a:t>years</a:t>
              </a:r>
              <a:r>
                <a:rPr lang="es-CL" sz="2400" b="1">
                  <a:solidFill>
                    <a:schemeClr val="bg1"/>
                  </a:solidFill>
                  <a:latin typeface="Montserrat" panose="00000500000000000000" pitchFamily="2" charset="0"/>
                </a:rPr>
                <a:t> </a:t>
              </a:r>
              <a:r>
                <a:rPr lang="es-CL" sz="2400" b="1" baseline="30000">
                  <a:solidFill>
                    <a:schemeClr val="bg1"/>
                  </a:solidFill>
                  <a:latin typeface="Montserrat" panose="00000500000000000000" pitchFamily="2" charset="0"/>
                </a:rPr>
                <a:t>(1)</a:t>
              </a:r>
            </a:p>
            <a:p>
              <a:pPr algn="ctr"/>
              <a:r>
                <a:rPr lang="es-CL" sz="1400" b="1" err="1">
                  <a:solidFill>
                    <a:schemeClr val="bg1"/>
                  </a:solidFill>
                  <a:latin typeface="Montserrat" panose="00000500000000000000" pitchFamily="2" charset="0"/>
                </a:rPr>
                <a:t>Contracts</a:t>
              </a:r>
              <a:r>
                <a:rPr lang="es-CL" sz="1400" b="1">
                  <a:solidFill>
                    <a:schemeClr val="bg1"/>
                  </a:solidFill>
                  <a:latin typeface="Montserrat" panose="00000500000000000000" pitchFamily="2" charset="0"/>
                </a:rPr>
                <a:t> </a:t>
              </a:r>
              <a:r>
                <a:rPr lang="es-CL" sz="1400" b="1" err="1">
                  <a:solidFill>
                    <a:schemeClr val="bg1"/>
                  </a:solidFill>
                  <a:latin typeface="Montserrat" panose="00000500000000000000" pitchFamily="2" charset="0"/>
                </a:rPr>
                <a:t>Average</a:t>
              </a:r>
              <a:r>
                <a:rPr lang="es-CL" sz="1400" b="1">
                  <a:solidFill>
                    <a:schemeClr val="bg1"/>
                  </a:solidFill>
                  <a:latin typeface="Montserrat" panose="00000500000000000000" pitchFamily="2" charset="0"/>
                </a:rPr>
                <a:t> </a:t>
              </a:r>
              <a:r>
                <a:rPr lang="es-CL" sz="1400" b="1" err="1">
                  <a:solidFill>
                    <a:schemeClr val="bg1"/>
                  </a:solidFill>
                  <a:latin typeface="Montserrat" panose="00000500000000000000" pitchFamily="2" charset="0"/>
                </a:rPr>
                <a:t>Duration</a:t>
              </a:r>
              <a:endParaRPr lang="es-CL" sz="1400" b="1">
                <a:solidFill>
                  <a:schemeClr val="bg1"/>
                </a:solidFill>
                <a:latin typeface="Montserrat" panose="00000500000000000000" pitchFamily="2" charset="0"/>
              </a:endParaRPr>
            </a:p>
          </p:txBody>
        </p:sp>
      </p:grpSp>
      <p:sp>
        <p:nvSpPr>
          <p:cNvPr id="27" name="CuadroTexto 26">
            <a:extLst>
              <a:ext uri="{FF2B5EF4-FFF2-40B4-BE49-F238E27FC236}">
                <a16:creationId xmlns:a16="http://schemas.microsoft.com/office/drawing/2014/main" id="{FB15255C-BF7C-EE6C-30A8-862C725475F8}"/>
              </a:ext>
            </a:extLst>
          </p:cNvPr>
          <p:cNvSpPr txBox="1"/>
          <p:nvPr/>
        </p:nvSpPr>
        <p:spPr>
          <a:xfrm>
            <a:off x="222052" y="6638509"/>
            <a:ext cx="7839183" cy="246221"/>
          </a:xfrm>
          <a:prstGeom prst="rect">
            <a:avLst/>
          </a:prstGeom>
          <a:noFill/>
        </p:spPr>
        <p:txBody>
          <a:bodyPr wrap="square" rtlCol="0">
            <a:spAutoFit/>
          </a:bodyPr>
          <a:lstStyle/>
          <a:p>
            <a:r>
              <a:rPr lang="es-CL" sz="1000" baseline="30000">
                <a:solidFill>
                  <a:srgbClr val="767171"/>
                </a:solidFill>
                <a:latin typeface="Montserrat" panose="00000500000000000000" pitchFamily="2" charset="0"/>
                <a:cs typeface="Poppins" panose="00000500000000000000" pitchFamily="2" charset="0"/>
              </a:rPr>
              <a:t>(1)</a:t>
            </a:r>
            <a:r>
              <a:rPr lang="es-CL" sz="1000">
                <a:solidFill>
                  <a:srgbClr val="767171"/>
                </a:solidFill>
                <a:latin typeface="Montserrat" panose="00000500000000000000" pitchFamily="2" charset="0"/>
                <a:cs typeface="Poppins" panose="00000500000000000000" pitchFamily="2" charset="0"/>
              </a:rPr>
              <a:t> </a:t>
            </a:r>
            <a:r>
              <a:rPr lang="en-US" sz="1000">
                <a:solidFill>
                  <a:srgbClr val="767171"/>
                </a:solidFill>
                <a:latin typeface="Montserrat" panose="00000500000000000000" pitchFamily="2" charset="0"/>
                <a:cs typeface="Poppins" panose="00000500000000000000" pitchFamily="2" charset="0"/>
              </a:rPr>
              <a:t>Weighted average of contracts based on their GLA</a:t>
            </a:r>
            <a:r>
              <a:rPr lang="es-CL" sz="1000">
                <a:solidFill>
                  <a:srgbClr val="767171"/>
                </a:solidFill>
                <a:latin typeface="Montserrat" panose="00000500000000000000" pitchFamily="2" charset="0"/>
                <a:cs typeface="Poppins" panose="00000500000000000000" pitchFamily="2" charset="0"/>
              </a:rPr>
              <a:t>.</a:t>
            </a:r>
          </a:p>
        </p:txBody>
      </p:sp>
      <p:sp>
        <p:nvSpPr>
          <p:cNvPr id="58" name="Rectángulo 57">
            <a:extLst>
              <a:ext uri="{FF2B5EF4-FFF2-40B4-BE49-F238E27FC236}">
                <a16:creationId xmlns:a16="http://schemas.microsoft.com/office/drawing/2014/main" id="{6F4F8E82-EF92-5563-A2E2-C18B322EA4CD}"/>
              </a:ext>
            </a:extLst>
          </p:cNvPr>
          <p:cNvSpPr/>
          <p:nvPr/>
        </p:nvSpPr>
        <p:spPr>
          <a:xfrm>
            <a:off x="6516126" y="1301691"/>
            <a:ext cx="4939656" cy="400110"/>
          </a:xfrm>
          <a:prstGeom prst="rect">
            <a:avLst/>
          </a:prstGeom>
        </p:spPr>
        <p:txBody>
          <a:bodyPr wrap="square">
            <a:spAutoFit/>
          </a:bodyPr>
          <a:lstStyle/>
          <a:p>
            <a:r>
              <a:rPr lang="es-CL" sz="2000" b="1" err="1">
                <a:solidFill>
                  <a:srgbClr val="021766"/>
                </a:solidFill>
                <a:latin typeface="Montserrat" panose="00000500000000000000" pitchFamily="2" charset="0"/>
              </a:rPr>
              <a:t>Contracts</a:t>
            </a:r>
            <a:r>
              <a:rPr lang="es-CL" sz="2000" b="1">
                <a:solidFill>
                  <a:srgbClr val="021766"/>
                </a:solidFill>
                <a:latin typeface="Montserrat" panose="00000500000000000000" pitchFamily="2" charset="0"/>
              </a:rPr>
              <a:t> </a:t>
            </a:r>
            <a:r>
              <a:rPr lang="es-CL" sz="2000" b="1" err="1">
                <a:solidFill>
                  <a:srgbClr val="021766"/>
                </a:solidFill>
                <a:latin typeface="Montserrat" panose="00000500000000000000" pitchFamily="2" charset="0"/>
              </a:rPr>
              <a:t>Maturity</a:t>
            </a:r>
            <a:r>
              <a:rPr lang="es-CL" sz="2000" b="1">
                <a:solidFill>
                  <a:srgbClr val="021766"/>
                </a:solidFill>
                <a:latin typeface="Montserrat" panose="00000500000000000000" pitchFamily="2" charset="0"/>
              </a:rPr>
              <a:t> (in </a:t>
            </a:r>
            <a:r>
              <a:rPr lang="es-CL" sz="2000" b="1" err="1">
                <a:solidFill>
                  <a:srgbClr val="021766"/>
                </a:solidFill>
                <a:latin typeface="Montserrat" panose="00000500000000000000" pitchFamily="2" charset="0"/>
              </a:rPr>
              <a:t>years</a:t>
            </a:r>
            <a:r>
              <a:rPr lang="es-CL" sz="2000" b="1">
                <a:solidFill>
                  <a:srgbClr val="021766"/>
                </a:solidFill>
                <a:latin typeface="Montserrat" panose="00000500000000000000" pitchFamily="2" charset="0"/>
              </a:rPr>
              <a:t>)</a:t>
            </a:r>
          </a:p>
        </p:txBody>
      </p:sp>
      <p:sp>
        <p:nvSpPr>
          <p:cNvPr id="2" name="CuadroTexto 1">
            <a:extLst>
              <a:ext uri="{FF2B5EF4-FFF2-40B4-BE49-F238E27FC236}">
                <a16:creationId xmlns:a16="http://schemas.microsoft.com/office/drawing/2014/main" id="{602AB1BD-0A58-4EAE-AC3D-2B6E9C5C9855}"/>
              </a:ext>
            </a:extLst>
          </p:cNvPr>
          <p:cNvSpPr txBox="1"/>
          <p:nvPr/>
        </p:nvSpPr>
        <p:spPr>
          <a:xfrm>
            <a:off x="491796" y="207049"/>
            <a:ext cx="6466866" cy="553998"/>
          </a:xfrm>
          <a:prstGeom prst="rect">
            <a:avLst/>
          </a:prstGeom>
          <a:noFill/>
        </p:spPr>
        <p:txBody>
          <a:bodyPr wrap="square" rtlCol="0">
            <a:spAutoFit/>
          </a:bodyPr>
          <a:lstStyle/>
          <a:p>
            <a:r>
              <a:rPr lang="es-CL" sz="3000" b="1">
                <a:solidFill>
                  <a:schemeClr val="accent3"/>
                </a:solidFill>
                <a:latin typeface="Poppins" pitchFamily="2" charset="77"/>
                <a:cs typeface="Poppins" pitchFamily="2" charset="77"/>
              </a:rPr>
              <a:t>2.3 </a:t>
            </a:r>
            <a:r>
              <a:rPr kumimoji="0" lang="es-CL" sz="3000" b="1" i="0" u="none" strike="noStrike" kern="1200" cap="none" spc="0" normalizeH="0" baseline="0" noProof="0" err="1">
                <a:ln>
                  <a:noFill/>
                </a:ln>
                <a:solidFill>
                  <a:schemeClr val="tx2"/>
                </a:solidFill>
                <a:effectLst/>
                <a:uLnTx/>
                <a:uFillTx/>
                <a:latin typeface="Poppins" pitchFamily="2" charset="77"/>
                <a:cs typeface="Poppins" pitchFamily="2" charset="77"/>
              </a:rPr>
              <a:t>Revenue</a:t>
            </a:r>
            <a:r>
              <a:rPr kumimoji="0" lang="es-CL" sz="3000" b="1" i="0" u="none" strike="noStrike" kern="1200" cap="none" spc="0" normalizeH="0" baseline="0" noProof="0">
                <a:ln>
                  <a:noFill/>
                </a:ln>
                <a:solidFill>
                  <a:schemeClr val="tx2"/>
                </a:solidFill>
                <a:effectLst/>
                <a:uLnTx/>
                <a:uFillTx/>
                <a:latin typeface="Poppins" pitchFamily="2" charset="77"/>
                <a:cs typeface="Poppins" pitchFamily="2" charset="77"/>
              </a:rPr>
              <a:t> </a:t>
            </a:r>
            <a:r>
              <a:rPr kumimoji="0" lang="es-CL" sz="3000" b="1" i="0" u="none" strike="noStrike" kern="1200" cap="none" spc="0" normalizeH="0" baseline="0" noProof="0" err="1">
                <a:ln>
                  <a:noFill/>
                </a:ln>
                <a:solidFill>
                  <a:schemeClr val="tx2"/>
                </a:solidFill>
                <a:effectLst/>
                <a:uLnTx/>
                <a:uFillTx/>
                <a:latin typeface="Poppins" pitchFamily="2" charset="77"/>
                <a:cs typeface="Poppins" pitchFamily="2" charset="77"/>
              </a:rPr>
              <a:t>Structure</a:t>
            </a:r>
            <a:endParaRPr lang="es-CL" sz="3000" b="1">
              <a:solidFill>
                <a:schemeClr val="tx2"/>
              </a:solidFill>
              <a:latin typeface="Poppins" pitchFamily="2" charset="77"/>
              <a:cs typeface="Poppins" pitchFamily="2" charset="77"/>
            </a:endParaRPr>
          </a:p>
        </p:txBody>
      </p:sp>
      <p:sp>
        <p:nvSpPr>
          <p:cNvPr id="4" name="Marcador de número de diapositiva 1">
            <a:extLst>
              <a:ext uri="{FF2B5EF4-FFF2-40B4-BE49-F238E27FC236}">
                <a16:creationId xmlns:a16="http://schemas.microsoft.com/office/drawing/2014/main" id="{E5154449-25E0-EDC1-F176-11A18205EC36}"/>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11</a:t>
            </a:fld>
            <a:endParaRPr lang="es-CL"/>
          </a:p>
        </p:txBody>
      </p:sp>
      <p:graphicFrame>
        <p:nvGraphicFramePr>
          <p:cNvPr id="95" name="Chart 3">
            <a:extLst>
              <a:ext uri="{FF2B5EF4-FFF2-40B4-BE49-F238E27FC236}">
                <a16:creationId xmlns:a16="http://schemas.microsoft.com/office/drawing/2014/main" id="{57F01F48-7DE2-942F-7033-30FD15D607E7}"/>
              </a:ext>
            </a:extLst>
          </p:cNvPr>
          <p:cNvGraphicFramePr/>
          <p:nvPr>
            <p:custDataLst>
              <p:tags r:id="rId3"/>
            </p:custDataLst>
            <p:extLst>
              <p:ext uri="{D42A27DB-BD31-4B8C-83A1-F6EECF244321}">
                <p14:modId xmlns:p14="http://schemas.microsoft.com/office/powerpoint/2010/main" val="1012957650"/>
              </p:ext>
            </p:extLst>
          </p:nvPr>
        </p:nvGraphicFramePr>
        <p:xfrm>
          <a:off x="6210300" y="1935163"/>
          <a:ext cx="5738813" cy="2046287"/>
        </p:xfrm>
        <a:graphic>
          <a:graphicData uri="http://schemas.openxmlformats.org/drawingml/2006/chart">
            <c:chart xmlns:c="http://schemas.openxmlformats.org/drawingml/2006/chart" xmlns:r="http://schemas.openxmlformats.org/officeDocument/2006/relationships" r:id="rId19"/>
          </a:graphicData>
        </a:graphic>
      </p:graphicFrame>
      <p:sp>
        <p:nvSpPr>
          <p:cNvPr id="21" name="Marcador de texto 2">
            <a:extLst>
              <a:ext uri="{FF2B5EF4-FFF2-40B4-BE49-F238E27FC236}">
                <a16:creationId xmlns:a16="http://schemas.microsoft.com/office/drawing/2014/main" id="{7E48156E-6A95-A64B-8520-CD11DA6C5EEF}"/>
              </a:ext>
            </a:extLst>
          </p:cNvPr>
          <p:cNvSpPr>
            <a:spLocks noGrp="1"/>
          </p:cNvSpPr>
          <p:nvPr>
            <p:custDataLst>
              <p:tags r:id="rId4"/>
            </p:custDataLst>
          </p:nvPr>
        </p:nvSpPr>
        <p:spPr bwMode="auto">
          <a:xfrm>
            <a:off x="6553200" y="3957638"/>
            <a:ext cx="5953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6F3D17E-AF89-4820-AEA2-54D80134FFF3}" type="datetime'''''''''''U''n''de''''''''''''''r'''''''''''''''''''''' ''2'">
              <a:rPr lang="es-CL" altLang="en-US" sz="1400" smtClean="0"/>
              <a:pPr marL="0" indent="0" algn="ctr">
                <a:spcBef>
                  <a:spcPct val="0"/>
                </a:spcBef>
                <a:spcAft>
                  <a:spcPct val="0"/>
                </a:spcAft>
                <a:buNone/>
              </a:pPr>
              <a:t>Under 2</a:t>
            </a:fld>
            <a:endParaRPr lang="es-CL" sz="1400"/>
          </a:p>
        </p:txBody>
      </p:sp>
      <p:sp>
        <p:nvSpPr>
          <p:cNvPr id="28" name="Marcador de texto 2">
            <a:extLst>
              <a:ext uri="{FF2B5EF4-FFF2-40B4-BE49-F238E27FC236}">
                <a16:creationId xmlns:a16="http://schemas.microsoft.com/office/drawing/2014/main" id="{7E48156E-6A95-A64B-8520-CD11DA6C5EEF}"/>
              </a:ext>
            </a:extLst>
          </p:cNvPr>
          <p:cNvSpPr>
            <a:spLocks noGrp="1"/>
          </p:cNvSpPr>
          <p:nvPr>
            <p:custDataLst>
              <p:tags r:id="rId5"/>
            </p:custDataLst>
          </p:nvPr>
        </p:nvSpPr>
        <p:spPr bwMode="auto">
          <a:xfrm>
            <a:off x="7637463" y="3957638"/>
            <a:ext cx="65405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19E3D0-E85C-4C23-8234-DA4BCF34DD5A}" type="datetime'Be''''''''''t''wee''''n'''' ''''''''''''''''''2 and'' ''''3'">
              <a:rPr lang="es-CL" altLang="en-US" sz="1400" smtClean="0"/>
              <a:pPr marL="0" indent="0" algn="ctr">
                <a:spcBef>
                  <a:spcPct val="0"/>
                </a:spcBef>
                <a:spcAft>
                  <a:spcPct val="0"/>
                </a:spcAft>
                <a:buNone/>
              </a:pPr>
              <a:t>Between 2 and 3</a:t>
            </a:fld>
            <a:endParaRPr lang="es-CL" sz="1400"/>
          </a:p>
        </p:txBody>
      </p:sp>
      <p:sp>
        <p:nvSpPr>
          <p:cNvPr id="29" name="Marcador de texto 2">
            <a:extLst>
              <a:ext uri="{FF2B5EF4-FFF2-40B4-BE49-F238E27FC236}">
                <a16:creationId xmlns:a16="http://schemas.microsoft.com/office/drawing/2014/main" id="{7E48156E-6A95-A64B-8520-CD11DA6C5EEF}"/>
              </a:ext>
            </a:extLst>
          </p:cNvPr>
          <p:cNvSpPr>
            <a:spLocks noGrp="1"/>
          </p:cNvSpPr>
          <p:nvPr>
            <p:custDataLst>
              <p:tags r:id="rId6"/>
            </p:custDataLst>
          </p:nvPr>
        </p:nvSpPr>
        <p:spPr bwMode="auto">
          <a:xfrm>
            <a:off x="8751888" y="3957638"/>
            <a:ext cx="65405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E57BE85-B749-4D39-8F5E-314E898325A1}" type="datetime'''''Be''''''''tw''''''''e''''e''''''n'' 3 an''d'''''''''' ''4'">
              <a:rPr lang="es-CL" altLang="en-US" sz="1400" smtClean="0"/>
              <a:pPr marL="0" indent="0" algn="ctr">
                <a:spcBef>
                  <a:spcPct val="0"/>
                </a:spcBef>
                <a:spcAft>
                  <a:spcPct val="0"/>
                </a:spcAft>
                <a:buNone/>
              </a:pPr>
              <a:t>Between 3 and 4</a:t>
            </a:fld>
            <a:endParaRPr lang="es-CL" sz="1400"/>
          </a:p>
        </p:txBody>
      </p:sp>
      <p:sp>
        <p:nvSpPr>
          <p:cNvPr id="32" name="Marcador de texto 2">
            <a:extLst>
              <a:ext uri="{FF2B5EF4-FFF2-40B4-BE49-F238E27FC236}">
                <a16:creationId xmlns:a16="http://schemas.microsoft.com/office/drawing/2014/main" id="{7E48156E-6A95-A64B-8520-CD11DA6C5EEF}"/>
              </a:ext>
            </a:extLst>
          </p:cNvPr>
          <p:cNvSpPr>
            <a:spLocks noGrp="1"/>
          </p:cNvSpPr>
          <p:nvPr>
            <p:custDataLst>
              <p:tags r:id="rId7"/>
            </p:custDataLst>
          </p:nvPr>
        </p:nvSpPr>
        <p:spPr bwMode="auto">
          <a:xfrm>
            <a:off x="9867900" y="3957638"/>
            <a:ext cx="65405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70ADBF-9428-4C22-8C61-FDC38D653890}" type="datetime'B''''e''tw''''e''''''en 4 an''d'''''''''''' ''5'''''">
              <a:rPr lang="es-CL" altLang="en-US" sz="1400" smtClean="0"/>
              <a:pPr marL="0" indent="0" algn="ctr">
                <a:spcBef>
                  <a:spcPct val="0"/>
                </a:spcBef>
                <a:spcAft>
                  <a:spcPct val="0"/>
                </a:spcAft>
                <a:buNone/>
              </a:pPr>
              <a:t>Between 4 and 5</a:t>
            </a:fld>
            <a:endParaRPr lang="es-CL" sz="1400"/>
          </a:p>
        </p:txBody>
      </p:sp>
      <p:sp>
        <p:nvSpPr>
          <p:cNvPr id="35" name="Marcador de texto 2">
            <a:extLst>
              <a:ext uri="{FF2B5EF4-FFF2-40B4-BE49-F238E27FC236}">
                <a16:creationId xmlns:a16="http://schemas.microsoft.com/office/drawing/2014/main" id="{7E48156E-6A95-A64B-8520-CD11DA6C5EEF}"/>
              </a:ext>
            </a:extLst>
          </p:cNvPr>
          <p:cNvSpPr>
            <a:spLocks noGrp="1"/>
          </p:cNvSpPr>
          <p:nvPr>
            <p:custDataLst>
              <p:tags r:id="rId8"/>
            </p:custDataLst>
          </p:nvPr>
        </p:nvSpPr>
        <p:spPr bwMode="auto">
          <a:xfrm>
            <a:off x="11064875" y="3957638"/>
            <a:ext cx="4905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2F99C78-5405-4C8D-B106-890FBD955904}" type="datetime'''''O''''''''''''''''''''''v''''''''''er'' 5'">
              <a:rPr lang="es-CL" altLang="en-US" sz="1400" smtClean="0"/>
              <a:pPr marL="0" indent="0" algn="ctr">
                <a:spcBef>
                  <a:spcPct val="0"/>
                </a:spcBef>
                <a:spcAft>
                  <a:spcPct val="0"/>
                </a:spcAft>
                <a:buNone/>
              </a:pPr>
              <a:t>Over 5</a:t>
            </a:fld>
            <a:endParaRPr lang="es-CL" sz="1400"/>
          </a:p>
        </p:txBody>
      </p:sp>
      <p:sp>
        <p:nvSpPr>
          <p:cNvPr id="55" name="Marcador de texto 2">
            <a:extLst>
              <a:ext uri="{FF2B5EF4-FFF2-40B4-BE49-F238E27FC236}">
                <a16:creationId xmlns:a16="http://schemas.microsoft.com/office/drawing/2014/main" id="{7E48156E-6A95-A64B-8520-CD11DA6C5EEF}"/>
              </a:ext>
            </a:extLst>
          </p:cNvPr>
          <p:cNvSpPr>
            <a:spLocks noGrp="1"/>
          </p:cNvSpPr>
          <p:nvPr>
            <p:custDataLst>
              <p:tags r:id="rId9"/>
            </p:custDataLst>
          </p:nvPr>
        </p:nvSpPr>
        <p:spPr bwMode="gray">
          <a:xfrm>
            <a:off x="9990138" y="3578225"/>
            <a:ext cx="4095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E8A9A0A-0A76-4866-8D9B-B438E3F32BEA}" type="datetime'''3''''''''''''''''''.''''9''''''''''''''''''%'''''''''">
              <a:rPr lang="es-CL" altLang="en-US" sz="1400" b="1" smtClean="0"/>
              <a:pPr marL="0" indent="0" algn="ctr">
                <a:spcBef>
                  <a:spcPct val="0"/>
                </a:spcBef>
                <a:spcAft>
                  <a:spcPct val="0"/>
                </a:spcAft>
                <a:buNone/>
              </a:pPr>
              <a:t>3.9%</a:t>
            </a:fld>
            <a:endParaRPr lang="es-CL" sz="1400" b="1"/>
          </a:p>
        </p:txBody>
      </p:sp>
      <p:sp>
        <p:nvSpPr>
          <p:cNvPr id="63" name="Marcador de texto 2">
            <a:extLst>
              <a:ext uri="{FF2B5EF4-FFF2-40B4-BE49-F238E27FC236}">
                <a16:creationId xmlns:a16="http://schemas.microsoft.com/office/drawing/2014/main" id="{7E48156E-6A95-A64B-8520-CD11DA6C5EEF}"/>
              </a:ext>
            </a:extLst>
          </p:cNvPr>
          <p:cNvSpPr>
            <a:spLocks noGrp="1"/>
          </p:cNvSpPr>
          <p:nvPr>
            <p:custDataLst>
              <p:tags r:id="rId10"/>
            </p:custDataLst>
          </p:nvPr>
        </p:nvSpPr>
        <p:spPr bwMode="gray">
          <a:xfrm>
            <a:off x="11060114" y="1800225"/>
            <a:ext cx="5000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6C11DCA-DB86-4FB9-96C8-DB0CC186A2A6}" type="datetime'''''''7''''''''''''1''''''''''''.''''4''''''''''%'''''">
              <a:rPr lang="es-CL" altLang="en-US" sz="1400" b="1" smtClean="0"/>
              <a:pPr marL="0" indent="0" algn="ctr">
                <a:spcBef>
                  <a:spcPct val="0"/>
                </a:spcBef>
                <a:spcAft>
                  <a:spcPct val="0"/>
                </a:spcAft>
                <a:buNone/>
              </a:pPr>
              <a:t>71.4%</a:t>
            </a:fld>
            <a:endParaRPr lang="es-CL" sz="1400" b="1"/>
          </a:p>
        </p:txBody>
      </p:sp>
      <p:sp>
        <p:nvSpPr>
          <p:cNvPr id="74" name="Marcador de texto 2">
            <a:extLst>
              <a:ext uri="{FF2B5EF4-FFF2-40B4-BE49-F238E27FC236}">
                <a16:creationId xmlns:a16="http://schemas.microsoft.com/office/drawing/2014/main" id="{7E48156E-6A95-A64B-8520-CD11DA6C5EEF}"/>
              </a:ext>
            </a:extLst>
          </p:cNvPr>
          <p:cNvSpPr>
            <a:spLocks noGrp="1"/>
          </p:cNvSpPr>
          <p:nvPr>
            <p:custDataLst>
              <p:tags r:id="rId11"/>
            </p:custDataLst>
          </p:nvPr>
        </p:nvSpPr>
        <p:spPr bwMode="gray">
          <a:xfrm>
            <a:off x="6600826" y="3336925"/>
            <a:ext cx="5000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85F3710-76B5-42FA-A62C-77AA6412DEF8}" type="datetime'''''''''''''''''1''''''''''3.''1''''''''''''''%'''''''''''''">
              <a:rPr lang="es-CL" altLang="en-US" sz="1400" b="1" smtClean="0"/>
              <a:pPr marL="0" indent="0" algn="ctr">
                <a:spcBef>
                  <a:spcPct val="0"/>
                </a:spcBef>
                <a:spcAft>
                  <a:spcPct val="0"/>
                </a:spcAft>
                <a:buNone/>
              </a:pPr>
              <a:t>13.1%</a:t>
            </a:fld>
            <a:endParaRPr lang="es-CL" sz="1400" b="1"/>
          </a:p>
        </p:txBody>
      </p:sp>
      <p:sp>
        <p:nvSpPr>
          <p:cNvPr id="75" name="Marcador de texto 2">
            <a:extLst>
              <a:ext uri="{FF2B5EF4-FFF2-40B4-BE49-F238E27FC236}">
                <a16:creationId xmlns:a16="http://schemas.microsoft.com/office/drawing/2014/main" id="{7E48156E-6A95-A64B-8520-CD11DA6C5EEF}"/>
              </a:ext>
            </a:extLst>
          </p:cNvPr>
          <p:cNvSpPr>
            <a:spLocks noGrp="1"/>
          </p:cNvSpPr>
          <p:nvPr>
            <p:custDataLst>
              <p:tags r:id="rId12"/>
            </p:custDataLst>
          </p:nvPr>
        </p:nvSpPr>
        <p:spPr bwMode="gray">
          <a:xfrm>
            <a:off x="7759700" y="3525838"/>
            <a:ext cx="4095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B582733-E917-4991-9E67-01930DE1165B}" type="datetime'''''''''''''5''''''''''''''.''''''9''''''''''''''''%'''''''">
              <a:rPr lang="es-CL" altLang="en-US" sz="1400" b="1" smtClean="0"/>
              <a:pPr marL="0" indent="0" algn="ctr">
                <a:spcBef>
                  <a:spcPct val="0"/>
                </a:spcBef>
                <a:spcAft>
                  <a:spcPct val="0"/>
                </a:spcAft>
                <a:buNone/>
              </a:pPr>
              <a:t>5.9%</a:t>
            </a:fld>
            <a:endParaRPr lang="es-CL" sz="1400" b="1"/>
          </a:p>
        </p:txBody>
      </p:sp>
      <p:sp>
        <p:nvSpPr>
          <p:cNvPr id="76" name="Marcador de texto 2">
            <a:extLst>
              <a:ext uri="{FF2B5EF4-FFF2-40B4-BE49-F238E27FC236}">
                <a16:creationId xmlns:a16="http://schemas.microsoft.com/office/drawing/2014/main" id="{7E48156E-6A95-A64B-8520-CD11DA6C5EEF}"/>
              </a:ext>
            </a:extLst>
          </p:cNvPr>
          <p:cNvSpPr>
            <a:spLocks noGrp="1"/>
          </p:cNvSpPr>
          <p:nvPr>
            <p:custDataLst>
              <p:tags r:id="rId13"/>
            </p:custDataLst>
          </p:nvPr>
        </p:nvSpPr>
        <p:spPr bwMode="gray">
          <a:xfrm>
            <a:off x="8874125" y="3532188"/>
            <a:ext cx="4095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FD0E325-5CB5-4580-B164-C13667EA7CAD}" type="datetime'''''''''''''''''''''''5''.''''''''''''''''''7''''''''''%'''">
              <a:rPr lang="es-CL" altLang="en-US" sz="1400" b="1" smtClean="0"/>
              <a:pPr marL="0" indent="0" algn="ctr">
                <a:spcBef>
                  <a:spcPct val="0"/>
                </a:spcBef>
                <a:spcAft>
                  <a:spcPct val="0"/>
                </a:spcAft>
                <a:buNone/>
              </a:pPr>
              <a:t>5.7%</a:t>
            </a:fld>
            <a:endParaRPr lang="es-CL" sz="1400" b="1"/>
          </a:p>
        </p:txBody>
      </p:sp>
      <p:graphicFrame>
        <p:nvGraphicFramePr>
          <p:cNvPr id="97" name="Gráfico 96">
            <a:extLst>
              <a:ext uri="{FF2B5EF4-FFF2-40B4-BE49-F238E27FC236}">
                <a16:creationId xmlns:a16="http://schemas.microsoft.com/office/drawing/2014/main" id="{2E54216B-1323-4545-B603-F537478D2283}"/>
              </a:ext>
            </a:extLst>
          </p:cNvPr>
          <p:cNvGraphicFramePr>
            <a:graphicFrameLocks/>
          </p:cNvGraphicFramePr>
          <p:nvPr>
            <p:extLst>
              <p:ext uri="{D42A27DB-BD31-4B8C-83A1-F6EECF244321}">
                <p14:modId xmlns:p14="http://schemas.microsoft.com/office/powerpoint/2010/main" val="1748098742"/>
              </p:ext>
            </p:extLst>
          </p:nvPr>
        </p:nvGraphicFramePr>
        <p:xfrm>
          <a:off x="703262" y="1957295"/>
          <a:ext cx="4581525" cy="2454275"/>
        </p:xfrm>
        <a:graphic>
          <a:graphicData uri="http://schemas.openxmlformats.org/drawingml/2006/chart">
            <c:chart xmlns:c="http://schemas.openxmlformats.org/drawingml/2006/chart" xmlns:r="http://schemas.openxmlformats.org/officeDocument/2006/relationships" r:id="rId20"/>
          </a:graphicData>
        </a:graphic>
      </p:graphicFrame>
      <p:sp>
        <p:nvSpPr>
          <p:cNvPr id="6" name="Título 1">
            <a:extLst>
              <a:ext uri="{FF2B5EF4-FFF2-40B4-BE49-F238E27FC236}">
                <a16:creationId xmlns:a16="http://schemas.microsoft.com/office/drawing/2014/main" id="{DB0C0F2C-48BA-ED4B-F749-26BBBFED4099}"/>
              </a:ext>
            </a:extLst>
          </p:cNvPr>
          <p:cNvSpPr txBox="1">
            <a:spLocks/>
          </p:cNvSpPr>
          <p:nvPr/>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bg1"/>
                </a:solidFill>
                <a:latin typeface="Poppins" pitchFamily="2" charset="77"/>
                <a:cs typeface="Poppins" pitchFamily="2" charset="77"/>
              </a:rPr>
              <a:t>Earning</a:t>
            </a:r>
            <a:r>
              <a:rPr lang="es-MX" sz="800" b="1">
                <a:solidFill>
                  <a:schemeClr val="bg1"/>
                </a:solidFill>
                <a:latin typeface="Poppins" pitchFamily="2" charset="77"/>
                <a:cs typeface="Poppins" pitchFamily="2" charset="77"/>
              </a:rPr>
              <a:t> </a:t>
            </a:r>
            <a:r>
              <a:rPr lang="es-MX" sz="800" b="1" err="1">
                <a:solidFill>
                  <a:schemeClr val="bg1"/>
                </a:solidFill>
                <a:latin typeface="Poppins" pitchFamily="2" charset="77"/>
                <a:cs typeface="Poppins" pitchFamily="2" charset="77"/>
              </a:rPr>
              <a:t>Presentation</a:t>
            </a:r>
            <a:r>
              <a:rPr lang="es-MX" sz="800" b="0">
                <a:solidFill>
                  <a:schemeClr val="bg1"/>
                </a:solidFill>
                <a:latin typeface="Poppins" pitchFamily="2" charset="77"/>
                <a:cs typeface="Poppins" pitchFamily="2" charset="77"/>
              </a:rPr>
              <a:t>– </a:t>
            </a:r>
            <a:r>
              <a:rPr lang="es-MX" sz="800" b="0" err="1">
                <a:solidFill>
                  <a:schemeClr val="bg1"/>
                </a:solidFill>
                <a:latin typeface="Poppins" pitchFamily="2" charset="77"/>
                <a:cs typeface="Poppins" pitchFamily="2" charset="77"/>
              </a:rPr>
              <a:t>First</a:t>
            </a:r>
            <a:r>
              <a:rPr lang="es-MX" sz="800" b="0">
                <a:solidFill>
                  <a:schemeClr val="bg1"/>
                </a:solidFill>
                <a:latin typeface="Poppins" pitchFamily="2" charset="77"/>
                <a:cs typeface="Poppins" pitchFamily="2" charset="77"/>
              </a:rPr>
              <a:t> </a:t>
            </a:r>
            <a:r>
              <a:rPr lang="es-MX" sz="800" b="0" err="1">
                <a:solidFill>
                  <a:schemeClr val="bg1"/>
                </a:solidFill>
                <a:latin typeface="Poppins" pitchFamily="2" charset="77"/>
                <a:cs typeface="Poppins" pitchFamily="2" charset="77"/>
              </a:rPr>
              <a:t>Quarter</a:t>
            </a:r>
            <a:r>
              <a:rPr lang="es-MX" sz="800" b="0">
                <a:solidFill>
                  <a:schemeClr val="bg1"/>
                </a:solidFill>
                <a:latin typeface="Poppins" pitchFamily="2" charset="77"/>
                <a:cs typeface="Poppins" pitchFamily="2" charset="77"/>
              </a:rPr>
              <a:t> 2025</a:t>
            </a:r>
            <a:endParaRPr lang="es-CL" sz="800" b="0">
              <a:solidFill>
                <a:schemeClr val="bg1"/>
              </a:solidFill>
              <a:latin typeface="Poppins" pitchFamily="2" charset="77"/>
              <a:cs typeface="Poppins" pitchFamily="2" charset="77"/>
            </a:endParaRPr>
          </a:p>
        </p:txBody>
      </p:sp>
    </p:spTree>
    <p:extLst>
      <p:ext uri="{BB962C8B-B14F-4D97-AF65-F5344CB8AC3E}">
        <p14:creationId xmlns:p14="http://schemas.microsoft.com/office/powerpoint/2010/main" val="31103302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FD942F-F4B7-58C3-CF03-6189088CCE9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78F41AE-0B4C-4CAC-7AC8-E4D2A5A35025}"/>
              </a:ext>
            </a:extLst>
          </p:cNvPr>
          <p:cNvGraphicFramePr>
            <a:graphicFrameLocks noChangeAspect="1"/>
          </p:cNvGraphicFramePr>
          <p:nvPr>
            <p:custDataLst>
              <p:tags r:id="rId1"/>
            </p:custDataLst>
            <p:extLst>
              <p:ext uri="{D42A27DB-BD31-4B8C-83A1-F6EECF244321}">
                <p14:modId xmlns:p14="http://schemas.microsoft.com/office/powerpoint/2010/main" val="1267438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24" imgW="395" imgH="396" progId="TCLayout.ActiveDocument.1">
                  <p:embed/>
                </p:oleObj>
              </mc:Choice>
              <mc:Fallback>
                <p:oleObj name="Diapositiva de think-cell" r:id="rId24" imgW="395" imgH="396" progId="TCLayout.ActiveDocument.1">
                  <p:embed/>
                  <p:pic>
                    <p:nvPicPr>
                      <p:cNvPr id="7" name="think-cell data - do not delete" hidden="1">
                        <a:extLst>
                          <a:ext uri="{FF2B5EF4-FFF2-40B4-BE49-F238E27FC236}">
                            <a16:creationId xmlns:a16="http://schemas.microsoft.com/office/drawing/2014/main" id="{B78F41AE-0B4C-4CAC-7AC8-E4D2A5A35025}"/>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Redondear rectángulo de una esquina 6">
            <a:extLst>
              <a:ext uri="{FF2B5EF4-FFF2-40B4-BE49-F238E27FC236}">
                <a16:creationId xmlns:a16="http://schemas.microsoft.com/office/drawing/2014/main" id="{2759D15C-06BE-7E1A-ED80-EBE68BAC852B}"/>
              </a:ext>
            </a:extLst>
          </p:cNvPr>
          <p:cNvSpPr/>
          <p:nvPr/>
        </p:nvSpPr>
        <p:spPr>
          <a:xfrm>
            <a:off x="425876" y="1228003"/>
            <a:ext cx="4371466" cy="4401994"/>
          </a:xfrm>
          <a:prstGeom prst="roundRect">
            <a:avLst>
              <a:gd name="adj" fmla="val 552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Forma libre 15">
            <a:extLst>
              <a:ext uri="{FF2B5EF4-FFF2-40B4-BE49-F238E27FC236}">
                <a16:creationId xmlns:a16="http://schemas.microsoft.com/office/drawing/2014/main" id="{5FB2A1A7-EF40-76DD-D226-9FC601E60355}"/>
              </a:ext>
            </a:extLst>
          </p:cNvPr>
          <p:cNvSpPr/>
          <p:nvPr/>
        </p:nvSpPr>
        <p:spPr>
          <a:xfrm>
            <a:off x="4575786" y="895324"/>
            <a:ext cx="7616214" cy="3228717"/>
          </a:xfrm>
          <a:custGeom>
            <a:avLst/>
            <a:gdLst>
              <a:gd name="connsiteX0" fmla="*/ 1181100 w 5930900"/>
              <a:gd name="connsiteY0" fmla="*/ 0 h 3759200"/>
              <a:gd name="connsiteX1" fmla="*/ 5930900 w 5930900"/>
              <a:gd name="connsiteY1" fmla="*/ 12700 h 3759200"/>
              <a:gd name="connsiteX2" fmla="*/ 5918200 w 5930900"/>
              <a:gd name="connsiteY2" fmla="*/ 3721100 h 3759200"/>
              <a:gd name="connsiteX3" fmla="*/ 3810000 w 5930900"/>
              <a:gd name="connsiteY3" fmla="*/ 3136900 h 3759200"/>
              <a:gd name="connsiteX4" fmla="*/ 1828800 w 5930900"/>
              <a:gd name="connsiteY4" fmla="*/ 3759200 h 3759200"/>
              <a:gd name="connsiteX5" fmla="*/ 0 w 5930900"/>
              <a:gd name="connsiteY5" fmla="*/ 2768600 h 3759200"/>
              <a:gd name="connsiteX6" fmla="*/ 1181100 w 5930900"/>
              <a:gd name="connsiteY6" fmla="*/ 0 h 3759200"/>
              <a:gd name="connsiteX0" fmla="*/ 1181100 w 5930900"/>
              <a:gd name="connsiteY0" fmla="*/ 255434 h 4014634"/>
              <a:gd name="connsiteX1" fmla="*/ 5930900 w 5930900"/>
              <a:gd name="connsiteY1" fmla="*/ 268134 h 4014634"/>
              <a:gd name="connsiteX2" fmla="*/ 5918200 w 5930900"/>
              <a:gd name="connsiteY2" fmla="*/ 3976534 h 4014634"/>
              <a:gd name="connsiteX3" fmla="*/ 3810000 w 5930900"/>
              <a:gd name="connsiteY3" fmla="*/ 3392334 h 4014634"/>
              <a:gd name="connsiteX4" fmla="*/ 1828800 w 5930900"/>
              <a:gd name="connsiteY4" fmla="*/ 4014634 h 4014634"/>
              <a:gd name="connsiteX5" fmla="*/ 0 w 5930900"/>
              <a:gd name="connsiteY5" fmla="*/ 3024034 h 4014634"/>
              <a:gd name="connsiteX6" fmla="*/ 1181100 w 5930900"/>
              <a:gd name="connsiteY6" fmla="*/ 255434 h 4014634"/>
              <a:gd name="connsiteX0" fmla="*/ 1181100 w 5930900"/>
              <a:gd name="connsiteY0" fmla="*/ 356033 h 4115233"/>
              <a:gd name="connsiteX1" fmla="*/ 5930900 w 5930900"/>
              <a:gd name="connsiteY1" fmla="*/ 368733 h 4115233"/>
              <a:gd name="connsiteX2" fmla="*/ 5918200 w 5930900"/>
              <a:gd name="connsiteY2" fmla="*/ 4077133 h 4115233"/>
              <a:gd name="connsiteX3" fmla="*/ 3810000 w 5930900"/>
              <a:gd name="connsiteY3" fmla="*/ 3492933 h 4115233"/>
              <a:gd name="connsiteX4" fmla="*/ 1828800 w 5930900"/>
              <a:gd name="connsiteY4" fmla="*/ 4115233 h 4115233"/>
              <a:gd name="connsiteX5" fmla="*/ 0 w 5930900"/>
              <a:gd name="connsiteY5" fmla="*/ 3124633 h 4115233"/>
              <a:gd name="connsiteX6" fmla="*/ 1181100 w 5930900"/>
              <a:gd name="connsiteY6" fmla="*/ 356033 h 4115233"/>
              <a:gd name="connsiteX0" fmla="*/ 1181100 w 5930900"/>
              <a:gd name="connsiteY0" fmla="*/ 356033 h 4115233"/>
              <a:gd name="connsiteX1" fmla="*/ 5930900 w 5930900"/>
              <a:gd name="connsiteY1" fmla="*/ 368733 h 4115233"/>
              <a:gd name="connsiteX2" fmla="*/ 5918200 w 5930900"/>
              <a:gd name="connsiteY2" fmla="*/ 4077133 h 4115233"/>
              <a:gd name="connsiteX3" fmla="*/ 3810000 w 5930900"/>
              <a:gd name="connsiteY3" fmla="*/ 3492933 h 4115233"/>
              <a:gd name="connsiteX4" fmla="*/ 1828800 w 5930900"/>
              <a:gd name="connsiteY4" fmla="*/ 4115233 h 4115233"/>
              <a:gd name="connsiteX5" fmla="*/ 0 w 5930900"/>
              <a:gd name="connsiteY5" fmla="*/ 3124633 h 4115233"/>
              <a:gd name="connsiteX6" fmla="*/ 1181100 w 5930900"/>
              <a:gd name="connsiteY6" fmla="*/ 356033 h 4115233"/>
              <a:gd name="connsiteX0" fmla="*/ 1181100 w 5930900"/>
              <a:gd name="connsiteY0" fmla="*/ 356033 h 4115233"/>
              <a:gd name="connsiteX1" fmla="*/ 5930900 w 5930900"/>
              <a:gd name="connsiteY1" fmla="*/ 368733 h 4115233"/>
              <a:gd name="connsiteX2" fmla="*/ 5918200 w 5930900"/>
              <a:gd name="connsiteY2" fmla="*/ 4077133 h 4115233"/>
              <a:gd name="connsiteX3" fmla="*/ 3810000 w 5930900"/>
              <a:gd name="connsiteY3" fmla="*/ 3492933 h 4115233"/>
              <a:gd name="connsiteX4" fmla="*/ 1828800 w 5930900"/>
              <a:gd name="connsiteY4" fmla="*/ 4115233 h 4115233"/>
              <a:gd name="connsiteX5" fmla="*/ 0 w 5930900"/>
              <a:gd name="connsiteY5" fmla="*/ 3124633 h 4115233"/>
              <a:gd name="connsiteX6" fmla="*/ 1181100 w 5930900"/>
              <a:gd name="connsiteY6" fmla="*/ 356033 h 4115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30900" h="4115233">
                <a:moveTo>
                  <a:pt x="1181100" y="356033"/>
                </a:moveTo>
                <a:cubicBezTo>
                  <a:pt x="2878667" y="-223934"/>
                  <a:pt x="5008033" y="-3800"/>
                  <a:pt x="5930900" y="368733"/>
                </a:cubicBezTo>
                <a:cubicBezTo>
                  <a:pt x="5926667" y="1604866"/>
                  <a:pt x="5922433" y="2841000"/>
                  <a:pt x="5918200" y="4077133"/>
                </a:cubicBezTo>
                <a:cubicBezTo>
                  <a:pt x="5710767" y="3806200"/>
                  <a:pt x="4741333" y="3433666"/>
                  <a:pt x="3810000" y="3492933"/>
                </a:cubicBezTo>
                <a:lnTo>
                  <a:pt x="1828800" y="4115233"/>
                </a:lnTo>
                <a:lnTo>
                  <a:pt x="0" y="3124633"/>
                </a:lnTo>
                <a:lnTo>
                  <a:pt x="1181100" y="356033"/>
                </a:lnTo>
                <a:close/>
              </a:path>
            </a:pathLst>
          </a:custGeom>
          <a:solidFill>
            <a:srgbClr val="DA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50" name="Cuadro de texto 334">
            <a:extLst>
              <a:ext uri="{FF2B5EF4-FFF2-40B4-BE49-F238E27FC236}">
                <a16:creationId xmlns:a16="http://schemas.microsoft.com/office/drawing/2014/main" id="{3A564A7C-0404-AF6B-12BC-736EC97B3804}"/>
              </a:ext>
            </a:extLst>
          </p:cNvPr>
          <p:cNvSpPr txBox="1">
            <a:spLocks noChangeArrowheads="1"/>
          </p:cNvSpPr>
          <p:nvPr/>
        </p:nvSpPr>
        <p:spPr bwMode="auto">
          <a:xfrm>
            <a:off x="1080669" y="1427881"/>
            <a:ext cx="1478824" cy="376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r>
              <a:rPr lang="es-CL" sz="2000" b="1">
                <a:solidFill>
                  <a:schemeClr val="tx2"/>
                </a:solidFill>
                <a:latin typeface="Poppins" pitchFamily="2" charset="77"/>
                <a:cs typeface="Poppins" pitchFamily="2" charset="77"/>
              </a:rPr>
              <a:t>Chile</a:t>
            </a:r>
            <a:endParaRPr kumimoji="0" lang="es-CL" altLang="es-CL" sz="1100" b="1" i="0" u="none" strike="noStrike" cap="none" normalizeH="0" baseline="0">
              <a:ln>
                <a:noFill/>
              </a:ln>
              <a:solidFill>
                <a:schemeClr val="tx2"/>
              </a:solidFill>
              <a:effectLst/>
              <a:latin typeface="Poppins" pitchFamily="2" charset="77"/>
              <a:cs typeface="Poppins" pitchFamily="2" charset="77"/>
            </a:endParaRPr>
          </a:p>
        </p:txBody>
      </p:sp>
      <p:pic>
        <p:nvPicPr>
          <p:cNvPr id="51" name="Imagen 50">
            <a:extLst>
              <a:ext uri="{FF2B5EF4-FFF2-40B4-BE49-F238E27FC236}">
                <a16:creationId xmlns:a16="http://schemas.microsoft.com/office/drawing/2014/main" id="{4AA7C00E-581A-69BF-6765-95F9E18AFEC7}"/>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710263" y="1462896"/>
            <a:ext cx="328637" cy="324000"/>
          </a:xfrm>
          <a:prstGeom prst="rect">
            <a:avLst/>
          </a:prstGeom>
        </p:spPr>
      </p:pic>
      <p:sp>
        <p:nvSpPr>
          <p:cNvPr id="73" name="CuadroTexto 72">
            <a:extLst>
              <a:ext uri="{FF2B5EF4-FFF2-40B4-BE49-F238E27FC236}">
                <a16:creationId xmlns:a16="http://schemas.microsoft.com/office/drawing/2014/main" id="{CDC364A9-9EEE-9C22-B2E7-BF5097EF0ADB}"/>
              </a:ext>
            </a:extLst>
          </p:cNvPr>
          <p:cNvSpPr txBox="1"/>
          <p:nvPr/>
        </p:nvSpPr>
        <p:spPr>
          <a:xfrm>
            <a:off x="709309" y="1991810"/>
            <a:ext cx="3980278" cy="3323987"/>
          </a:xfrm>
          <a:prstGeom prst="rect">
            <a:avLst/>
          </a:prstGeom>
          <a:noFill/>
        </p:spPr>
        <p:txBody>
          <a:bodyPr wrap="square" rtlCol="0">
            <a:spAutoFit/>
          </a:bodyPr>
          <a:lstStyle/>
          <a:p>
            <a:pPr algn="just"/>
            <a:r>
              <a:rPr lang="es-CL" sz="1600" b="1" dirty="0" err="1">
                <a:solidFill>
                  <a:schemeClr val="tx2"/>
                </a:solidFill>
                <a:latin typeface="Poppins" pitchFamily="2" charset="77"/>
                <a:cs typeface="Poppins" pitchFamily="2" charset="77"/>
              </a:rPr>
              <a:t>Revenues</a:t>
            </a:r>
            <a:endParaRPr lang="es-CL" sz="1300" dirty="0">
              <a:solidFill>
                <a:schemeClr val="tx2"/>
              </a:solidFill>
              <a:latin typeface="Poppins" pitchFamily="2" charset="77"/>
              <a:cs typeface="Poppins" pitchFamily="2" charset="77"/>
            </a:endParaRPr>
          </a:p>
          <a:p>
            <a:pPr algn="just">
              <a:spcBef>
                <a:spcPts val="600"/>
              </a:spcBef>
              <a:buClr>
                <a:srgbClr val="002060"/>
              </a:buClr>
            </a:pPr>
            <a:r>
              <a:rPr lang="en-US" sz="1300" dirty="0">
                <a:solidFill>
                  <a:schemeClr val="tx2"/>
                </a:solidFill>
                <a:latin typeface="Poppins" pitchFamily="2" charset="77"/>
                <a:cs typeface="Poppins" pitchFamily="2" charset="77"/>
              </a:rPr>
              <a:t>Higher variable rent due to a 10.2% increase in tenant sales.</a:t>
            </a:r>
          </a:p>
          <a:p>
            <a:pPr algn="just">
              <a:spcBef>
                <a:spcPts val="600"/>
              </a:spcBef>
              <a:buClr>
                <a:srgbClr val="002060"/>
              </a:buClr>
            </a:pPr>
            <a:r>
              <a:rPr lang="en-US" sz="1300" dirty="0">
                <a:solidFill>
                  <a:schemeClr val="tx2"/>
                </a:solidFill>
                <a:latin typeface="Poppins" pitchFamily="2" charset="77"/>
                <a:cs typeface="Poppins" pitchFamily="2" charset="77"/>
              </a:rPr>
              <a:t>Addition of ~19,000 sqm of GLA with ~99% occupancy.</a:t>
            </a:r>
          </a:p>
          <a:p>
            <a:pPr algn="just">
              <a:spcBef>
                <a:spcPts val="600"/>
              </a:spcBef>
              <a:buClr>
                <a:srgbClr val="002060"/>
              </a:buClr>
            </a:pPr>
            <a:r>
              <a:rPr lang="en-US" sz="1300" dirty="0">
                <a:solidFill>
                  <a:schemeClr val="tx2"/>
                </a:solidFill>
                <a:latin typeface="Poppins" pitchFamily="2" charset="77"/>
                <a:cs typeface="Poppins" pitchFamily="2" charset="77"/>
              </a:rPr>
              <a:t>Increase in fixed rental income linked to inflation adjustments.</a:t>
            </a:r>
          </a:p>
          <a:p>
            <a:pPr algn="just">
              <a:spcBef>
                <a:spcPts val="600"/>
              </a:spcBef>
              <a:buClr>
                <a:srgbClr val="002060"/>
              </a:buClr>
            </a:pPr>
            <a:endParaRPr lang="es-CL" sz="1300" dirty="0">
              <a:solidFill>
                <a:schemeClr val="tx2"/>
              </a:solidFill>
              <a:latin typeface="Poppins" pitchFamily="2" charset="77"/>
              <a:cs typeface="Poppins" pitchFamily="2" charset="77"/>
            </a:endParaRPr>
          </a:p>
          <a:p>
            <a:pPr algn="just">
              <a:spcBef>
                <a:spcPts val="600"/>
              </a:spcBef>
              <a:buClr>
                <a:srgbClr val="002060"/>
              </a:buClr>
            </a:pPr>
            <a:r>
              <a:rPr lang="es-CL" sz="1600" b="1" dirty="0" err="1">
                <a:solidFill>
                  <a:schemeClr val="tx2"/>
                </a:solidFill>
                <a:latin typeface="Poppins" pitchFamily="2" charset="77"/>
                <a:cs typeface="Poppins" pitchFamily="2" charset="77"/>
              </a:rPr>
              <a:t>Adjusted</a:t>
            </a:r>
            <a:r>
              <a:rPr lang="es-CL" sz="1600" b="1" dirty="0">
                <a:solidFill>
                  <a:schemeClr val="tx2"/>
                </a:solidFill>
                <a:latin typeface="Poppins" pitchFamily="2" charset="77"/>
                <a:cs typeface="Poppins" pitchFamily="2" charset="77"/>
              </a:rPr>
              <a:t> EBITDA</a:t>
            </a:r>
            <a:endParaRPr lang="es-CL" sz="1300" dirty="0">
              <a:solidFill>
                <a:schemeClr val="tx2"/>
              </a:solidFill>
              <a:latin typeface="Poppins" pitchFamily="2" charset="77"/>
              <a:cs typeface="Poppins" pitchFamily="2" charset="77"/>
            </a:endParaRPr>
          </a:p>
          <a:p>
            <a:pPr algn="just">
              <a:spcBef>
                <a:spcPts val="600"/>
              </a:spcBef>
              <a:buClr>
                <a:srgbClr val="002060"/>
              </a:buClr>
            </a:pPr>
            <a:r>
              <a:rPr lang="en-US" sz="1300" dirty="0">
                <a:solidFill>
                  <a:schemeClr val="tx2"/>
                </a:solidFill>
                <a:latin typeface="Poppins" pitchFamily="2" charset="77"/>
                <a:cs typeface="Poppins" pitchFamily="2" charset="77"/>
              </a:rPr>
              <a:t>Gross profit expanded by 11.3% YoY.</a:t>
            </a:r>
          </a:p>
          <a:p>
            <a:pPr algn="just">
              <a:spcBef>
                <a:spcPts val="600"/>
              </a:spcBef>
              <a:buClr>
                <a:srgbClr val="002060"/>
              </a:buClr>
            </a:pPr>
            <a:r>
              <a:rPr lang="en-US" sz="1300" dirty="0">
                <a:solidFill>
                  <a:schemeClr val="tx2"/>
                </a:solidFill>
                <a:latin typeface="Poppins" pitchFamily="2" charset="77"/>
                <a:cs typeface="Poppins" pitchFamily="2" charset="77"/>
              </a:rPr>
              <a:t>Partially offset by an increase in expenses, mainly related to inflation and team strengthening.</a:t>
            </a:r>
            <a:endParaRPr lang="es-CL" sz="1600" dirty="0">
              <a:solidFill>
                <a:schemeClr val="tx2"/>
              </a:solidFill>
              <a:latin typeface="Poppins" pitchFamily="2" charset="77"/>
              <a:cs typeface="Poppins" pitchFamily="2" charset="77"/>
            </a:endParaRPr>
          </a:p>
        </p:txBody>
      </p:sp>
      <p:pic>
        <p:nvPicPr>
          <p:cNvPr id="74" name="Imagen 73">
            <a:extLst>
              <a:ext uri="{FF2B5EF4-FFF2-40B4-BE49-F238E27FC236}">
                <a16:creationId xmlns:a16="http://schemas.microsoft.com/office/drawing/2014/main" id="{4BDB75F2-9453-6A6A-4625-0DF24EFD350E}"/>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655388" y="2356265"/>
            <a:ext cx="91537" cy="185848"/>
          </a:xfrm>
          <a:prstGeom prst="rect">
            <a:avLst/>
          </a:prstGeom>
        </p:spPr>
      </p:pic>
      <p:pic>
        <p:nvPicPr>
          <p:cNvPr id="93" name="Imagen 92">
            <a:extLst>
              <a:ext uri="{FF2B5EF4-FFF2-40B4-BE49-F238E27FC236}">
                <a16:creationId xmlns:a16="http://schemas.microsoft.com/office/drawing/2014/main" id="{E41BE717-1EED-F9B6-67BA-D625232F5541}"/>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655388" y="4654569"/>
            <a:ext cx="91537" cy="185848"/>
          </a:xfrm>
          <a:prstGeom prst="rect">
            <a:avLst/>
          </a:prstGeom>
        </p:spPr>
      </p:pic>
      <p:pic>
        <p:nvPicPr>
          <p:cNvPr id="94" name="Imagen 93">
            <a:extLst>
              <a:ext uri="{FF2B5EF4-FFF2-40B4-BE49-F238E27FC236}">
                <a16:creationId xmlns:a16="http://schemas.microsoft.com/office/drawing/2014/main" id="{7B159B20-774D-37B4-5CAC-8731F3DF254B}"/>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655388" y="4377083"/>
            <a:ext cx="91537" cy="185848"/>
          </a:xfrm>
          <a:prstGeom prst="rect">
            <a:avLst/>
          </a:prstGeom>
        </p:spPr>
      </p:pic>
      <p:pic>
        <p:nvPicPr>
          <p:cNvPr id="17" name="Imagen 16">
            <a:extLst>
              <a:ext uri="{FF2B5EF4-FFF2-40B4-BE49-F238E27FC236}">
                <a16:creationId xmlns:a16="http://schemas.microsoft.com/office/drawing/2014/main" id="{CDE5AA9E-302D-5B19-CA9E-1D4F12B58A82}"/>
              </a:ext>
            </a:extLst>
          </p:cNvPr>
          <p:cNvPicPr>
            <a:picLocks noChangeAspect="1"/>
          </p:cNvPicPr>
          <p:nvPr/>
        </p:nvPicPr>
        <p:blipFill>
          <a:blip r:embed="rId28" cstate="email">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10433867" y="4094687"/>
            <a:ext cx="792581" cy="749032"/>
          </a:xfrm>
          <a:prstGeom prst="rect">
            <a:avLst/>
          </a:prstGeom>
        </p:spPr>
      </p:pic>
      <p:sp>
        <p:nvSpPr>
          <p:cNvPr id="18" name="Cuadro de texto 334">
            <a:extLst>
              <a:ext uri="{FF2B5EF4-FFF2-40B4-BE49-F238E27FC236}">
                <a16:creationId xmlns:a16="http://schemas.microsoft.com/office/drawing/2014/main" id="{9B6F355D-242A-8609-E037-EA8281B93037}"/>
              </a:ext>
            </a:extLst>
          </p:cNvPr>
          <p:cNvSpPr txBox="1">
            <a:spLocks noChangeArrowheads="1"/>
          </p:cNvSpPr>
          <p:nvPr/>
        </p:nvSpPr>
        <p:spPr bwMode="auto">
          <a:xfrm>
            <a:off x="9781723" y="4901857"/>
            <a:ext cx="2042936" cy="76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ts val="600"/>
              </a:spcAft>
            </a:pPr>
            <a:r>
              <a:rPr lang="es-CL" altLang="es-CL" sz="1400" b="1" err="1">
                <a:solidFill>
                  <a:schemeClr val="tx2"/>
                </a:solidFill>
                <a:latin typeface="Poppins" pitchFamily="2" charset="77"/>
                <a:cs typeface="Poppins" pitchFamily="2" charset="77"/>
              </a:rPr>
              <a:t>Adjusted</a:t>
            </a:r>
            <a:r>
              <a:rPr lang="es-CL" altLang="es-CL" sz="1400" b="1">
                <a:solidFill>
                  <a:schemeClr val="tx2"/>
                </a:solidFill>
                <a:latin typeface="Poppins" pitchFamily="2" charset="77"/>
                <a:cs typeface="Poppins" pitchFamily="2" charset="77"/>
              </a:rPr>
              <a:t> EBITDA </a:t>
            </a:r>
            <a:r>
              <a:rPr lang="es-CL" altLang="es-CL" sz="1400" b="1" err="1">
                <a:solidFill>
                  <a:schemeClr val="tx2"/>
                </a:solidFill>
                <a:latin typeface="Poppins" pitchFamily="2" charset="77"/>
                <a:cs typeface="Poppins" pitchFamily="2" charset="77"/>
              </a:rPr>
              <a:t>Margin</a:t>
            </a:r>
            <a:endParaRPr lang="es-CL" altLang="es-CL" sz="1200" b="1">
              <a:solidFill>
                <a:schemeClr val="tx2"/>
              </a:solidFill>
              <a:latin typeface="Poppins" pitchFamily="2" charset="77"/>
              <a:cs typeface="Poppins" pitchFamily="2" charset="77"/>
            </a:endParaRPr>
          </a:p>
          <a:p>
            <a:pPr algn="ctr" eaLnBrk="0" fontAlgn="base" hangingPunct="0">
              <a:spcBef>
                <a:spcPct val="0"/>
              </a:spcBef>
              <a:spcAft>
                <a:spcPts val="600"/>
              </a:spcAft>
            </a:pPr>
            <a:r>
              <a:rPr lang="es-CL" altLang="es-CL" sz="2400" b="1">
                <a:solidFill>
                  <a:schemeClr val="tx2"/>
                </a:solidFill>
                <a:latin typeface="Poppins" pitchFamily="2" charset="77"/>
                <a:cs typeface="Poppins" pitchFamily="2" charset="77"/>
              </a:rPr>
              <a:t>+95 </a:t>
            </a:r>
            <a:r>
              <a:rPr lang="es-CL" altLang="es-CL" sz="1200" b="1">
                <a:solidFill>
                  <a:schemeClr val="tx2"/>
                </a:solidFill>
                <a:latin typeface="Poppins" pitchFamily="2" charset="77"/>
                <a:cs typeface="Poppins" pitchFamily="2" charset="77"/>
              </a:rPr>
              <a:t>bps </a:t>
            </a:r>
            <a:r>
              <a:rPr lang="es-CL" altLang="es-CL" sz="1200" b="1" err="1">
                <a:solidFill>
                  <a:schemeClr val="tx2"/>
                </a:solidFill>
                <a:latin typeface="Poppins" pitchFamily="2" charset="77"/>
                <a:cs typeface="Poppins" pitchFamily="2" charset="77"/>
              </a:rPr>
              <a:t>YoY</a:t>
            </a:r>
            <a:endParaRPr lang="es-CL" altLang="es-CL" sz="1200" b="1">
              <a:solidFill>
                <a:schemeClr val="tx2"/>
              </a:solidFill>
              <a:latin typeface="Poppins" pitchFamily="2" charset="77"/>
              <a:cs typeface="Poppins" pitchFamily="2" charset="77"/>
            </a:endParaRPr>
          </a:p>
        </p:txBody>
      </p:sp>
      <p:graphicFrame>
        <p:nvGraphicFramePr>
          <p:cNvPr id="26" name="Chart 3">
            <a:extLst>
              <a:ext uri="{FF2B5EF4-FFF2-40B4-BE49-F238E27FC236}">
                <a16:creationId xmlns:a16="http://schemas.microsoft.com/office/drawing/2014/main" id="{A70F0BCE-2055-03ED-A4AB-ED96FDAED95C}"/>
              </a:ext>
            </a:extLst>
          </p:cNvPr>
          <p:cNvGraphicFramePr/>
          <p:nvPr>
            <p:custDataLst>
              <p:tags r:id="rId2"/>
            </p:custDataLst>
            <p:extLst>
              <p:ext uri="{D42A27DB-BD31-4B8C-83A1-F6EECF244321}">
                <p14:modId xmlns:p14="http://schemas.microsoft.com/office/powerpoint/2010/main" val="619068834"/>
              </p:ext>
            </p:extLst>
          </p:nvPr>
        </p:nvGraphicFramePr>
        <p:xfrm>
          <a:off x="5487988" y="1909763"/>
          <a:ext cx="4424362" cy="1308100"/>
        </p:xfrm>
        <a:graphic>
          <a:graphicData uri="http://schemas.openxmlformats.org/drawingml/2006/chart">
            <c:chart xmlns:c="http://schemas.openxmlformats.org/drawingml/2006/chart" xmlns:r="http://schemas.openxmlformats.org/officeDocument/2006/relationships" r:id="rId29"/>
          </a:graphicData>
        </a:graphic>
      </p:graphicFrame>
      <p:sp>
        <p:nvSpPr>
          <p:cNvPr id="3" name="Marcador de texto 2">
            <a:extLst>
              <a:ext uri="{FF2B5EF4-FFF2-40B4-BE49-F238E27FC236}">
                <a16:creationId xmlns:a16="http://schemas.microsoft.com/office/drawing/2014/main" id="{0BB46C2C-CA50-1249-4A21-3CD7B7C8793A}"/>
              </a:ext>
            </a:extLst>
          </p:cNvPr>
          <p:cNvSpPr>
            <a:spLocks noGrp="1"/>
          </p:cNvSpPr>
          <p:nvPr>
            <p:custDataLst>
              <p:tags r:id="rId3"/>
            </p:custDataLst>
          </p:nvPr>
        </p:nvSpPr>
        <p:spPr bwMode="auto">
          <a:xfrm>
            <a:off x="5900738" y="3194050"/>
            <a:ext cx="403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CL" altLang="en-US" sz="1400"/>
              <a:t>1Q24</a:t>
            </a:r>
            <a:endParaRPr lang="es-CL" sz="1400"/>
          </a:p>
        </p:txBody>
      </p:sp>
      <p:sp>
        <p:nvSpPr>
          <p:cNvPr id="4" name="Marcador de texto 2">
            <a:extLst>
              <a:ext uri="{FF2B5EF4-FFF2-40B4-BE49-F238E27FC236}">
                <a16:creationId xmlns:a16="http://schemas.microsoft.com/office/drawing/2014/main" id="{A640AB88-AC2D-6FAC-2A5E-9C3026DC20E1}"/>
              </a:ext>
            </a:extLst>
          </p:cNvPr>
          <p:cNvSpPr>
            <a:spLocks noGrp="1"/>
          </p:cNvSpPr>
          <p:nvPr>
            <p:custDataLst>
              <p:tags r:id="rId4"/>
            </p:custDataLst>
          </p:nvPr>
        </p:nvSpPr>
        <p:spPr bwMode="auto">
          <a:xfrm>
            <a:off x="6965950" y="3194050"/>
            <a:ext cx="403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CL" altLang="en-US" sz="1400"/>
              <a:t>1Q25</a:t>
            </a:r>
            <a:endParaRPr lang="es-CL" sz="1400"/>
          </a:p>
        </p:txBody>
      </p:sp>
      <p:sp>
        <p:nvSpPr>
          <p:cNvPr id="5" name="Marcador de texto 2">
            <a:extLst>
              <a:ext uri="{FF2B5EF4-FFF2-40B4-BE49-F238E27FC236}">
                <a16:creationId xmlns:a16="http://schemas.microsoft.com/office/drawing/2014/main" id="{77F706C4-B461-D119-A763-1606AA3D02A9}"/>
              </a:ext>
            </a:extLst>
          </p:cNvPr>
          <p:cNvSpPr>
            <a:spLocks noGrp="1"/>
          </p:cNvSpPr>
          <p:nvPr>
            <p:custDataLst>
              <p:tags r:id="rId5"/>
            </p:custDataLst>
          </p:nvPr>
        </p:nvSpPr>
        <p:spPr bwMode="auto">
          <a:xfrm>
            <a:off x="8013700" y="3194050"/>
            <a:ext cx="4365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C2424A6-0099-4850-8CD0-B62CAAC4ED56}" type="datetime'3''''''''''''''''''''''''''''M''2''''''''''''4'''''''''">
              <a:rPr lang="es-CL" altLang="en-US" sz="1400" smtClean="0"/>
              <a:pPr marL="0" indent="0" algn="ctr">
                <a:spcBef>
                  <a:spcPct val="0"/>
                </a:spcBef>
                <a:spcAft>
                  <a:spcPct val="0"/>
                </a:spcAft>
                <a:buNone/>
              </a:pPr>
              <a:t>3M24</a:t>
            </a:fld>
            <a:endParaRPr lang="es-CL" sz="1400"/>
          </a:p>
        </p:txBody>
      </p:sp>
      <p:sp>
        <p:nvSpPr>
          <p:cNvPr id="8" name="Marcador de texto 2">
            <a:extLst>
              <a:ext uri="{FF2B5EF4-FFF2-40B4-BE49-F238E27FC236}">
                <a16:creationId xmlns:a16="http://schemas.microsoft.com/office/drawing/2014/main" id="{BB71EA1B-04DA-234C-E595-1091A37A081C}"/>
              </a:ext>
            </a:extLst>
          </p:cNvPr>
          <p:cNvSpPr>
            <a:spLocks noGrp="1"/>
          </p:cNvSpPr>
          <p:nvPr>
            <p:custDataLst>
              <p:tags r:id="rId6"/>
            </p:custDataLst>
          </p:nvPr>
        </p:nvSpPr>
        <p:spPr bwMode="auto">
          <a:xfrm>
            <a:off x="9078913" y="3194050"/>
            <a:ext cx="4365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1A02FB2-50F9-4D19-AF8C-7859B2C09112}" type="datetime'''''''''''''''''''''''3''''M''''''''''25'''''">
              <a:rPr lang="es-CL" altLang="en-US" sz="1400" smtClean="0"/>
              <a:pPr marL="0" indent="0" algn="ctr">
                <a:spcBef>
                  <a:spcPct val="0"/>
                </a:spcBef>
                <a:spcAft>
                  <a:spcPct val="0"/>
                </a:spcAft>
                <a:buNone/>
              </a:pPr>
              <a:t>3M25</a:t>
            </a:fld>
            <a:endParaRPr lang="es-CL" sz="1400"/>
          </a:p>
        </p:txBody>
      </p:sp>
      <p:sp>
        <p:nvSpPr>
          <p:cNvPr id="9" name="Marcador de texto 2">
            <a:extLst>
              <a:ext uri="{FF2B5EF4-FFF2-40B4-BE49-F238E27FC236}">
                <a16:creationId xmlns:a16="http://schemas.microsoft.com/office/drawing/2014/main" id="{FE723484-3FAD-CC64-D7F0-D226CDF0FE99}"/>
              </a:ext>
            </a:extLst>
          </p:cNvPr>
          <p:cNvSpPr>
            <a:spLocks noGrp="1"/>
          </p:cNvSpPr>
          <p:nvPr>
            <p:custDataLst>
              <p:tags r:id="rId7"/>
            </p:custDataLst>
          </p:nvPr>
        </p:nvSpPr>
        <p:spPr bwMode="auto">
          <a:xfrm>
            <a:off x="4956175" y="2522538"/>
            <a:ext cx="708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s-CL" altLang="en-US" sz="1400" b="1" err="1"/>
              <a:t>Revenues</a:t>
            </a:r>
            <a:endParaRPr lang="es-CL" sz="1400" b="1"/>
          </a:p>
        </p:txBody>
      </p:sp>
      <p:sp>
        <p:nvSpPr>
          <p:cNvPr id="15" name="Marcador de texto 2">
            <a:extLst>
              <a:ext uri="{FF2B5EF4-FFF2-40B4-BE49-F238E27FC236}">
                <a16:creationId xmlns:a16="http://schemas.microsoft.com/office/drawing/2014/main" id="{7E48156E-6A95-A64B-8520-CD11DA6C5EEF}"/>
              </a:ext>
            </a:extLst>
          </p:cNvPr>
          <p:cNvSpPr>
            <a:spLocks noGrp="1"/>
          </p:cNvSpPr>
          <p:nvPr>
            <p:custDataLst>
              <p:tags r:id="rId8"/>
            </p:custDataLst>
          </p:nvPr>
        </p:nvSpPr>
        <p:spPr bwMode="gray">
          <a:xfrm>
            <a:off x="5829300" y="1884363"/>
            <a:ext cx="5476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C6F0927-46D1-4793-A03F-CC23645E5532}" type="datetime'''7''''''''''''8'''''''''',''''7''''''''''''0''''9'''''''''''">
              <a:rPr lang="es-CL" altLang="en-US" sz="1400" smtClean="0">
                <a:effectLst/>
              </a:rPr>
              <a:pPr marL="0" indent="0" algn="ctr">
                <a:spcBef>
                  <a:spcPct val="0"/>
                </a:spcBef>
                <a:spcAft>
                  <a:spcPct val="0"/>
                </a:spcAft>
                <a:buNone/>
              </a:pPr>
              <a:t>78,709</a:t>
            </a:fld>
            <a:endParaRPr lang="es-CL" sz="1400"/>
          </a:p>
        </p:txBody>
      </p:sp>
      <p:sp>
        <p:nvSpPr>
          <p:cNvPr id="16" name="Marcador de texto 2">
            <a:extLst>
              <a:ext uri="{FF2B5EF4-FFF2-40B4-BE49-F238E27FC236}">
                <a16:creationId xmlns:a16="http://schemas.microsoft.com/office/drawing/2014/main" id="{7E48156E-6A95-A64B-8520-CD11DA6C5EEF}"/>
              </a:ext>
            </a:extLst>
          </p:cNvPr>
          <p:cNvSpPr>
            <a:spLocks noGrp="1"/>
          </p:cNvSpPr>
          <p:nvPr>
            <p:custDataLst>
              <p:tags r:id="rId9"/>
            </p:custDataLst>
          </p:nvPr>
        </p:nvSpPr>
        <p:spPr bwMode="gray">
          <a:xfrm>
            <a:off x="6894513" y="1774825"/>
            <a:ext cx="5476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9F1C99C-F50D-43DB-9F0E-CE688B9462AF}" type="datetime'''''''''8''''''6'',''''''''''''''9''''''''8''''''''''''''''8'">
              <a:rPr lang="es-CL" altLang="en-US" sz="1400" smtClean="0">
                <a:effectLst/>
              </a:rPr>
              <a:pPr marL="0" indent="0" algn="ctr">
                <a:spcBef>
                  <a:spcPct val="0"/>
                </a:spcBef>
                <a:spcAft>
                  <a:spcPct val="0"/>
                </a:spcAft>
                <a:buNone/>
              </a:pPr>
              <a:t>86,988</a:t>
            </a:fld>
            <a:endParaRPr lang="es-CL" sz="1400"/>
          </a:p>
        </p:txBody>
      </p:sp>
      <p:sp>
        <p:nvSpPr>
          <p:cNvPr id="19" name="Marcador de texto 2">
            <a:extLst>
              <a:ext uri="{FF2B5EF4-FFF2-40B4-BE49-F238E27FC236}">
                <a16:creationId xmlns:a16="http://schemas.microsoft.com/office/drawing/2014/main" id="{7E48156E-6A95-A64B-8520-CD11DA6C5EEF}"/>
              </a:ext>
            </a:extLst>
          </p:cNvPr>
          <p:cNvSpPr>
            <a:spLocks noGrp="1"/>
          </p:cNvSpPr>
          <p:nvPr>
            <p:custDataLst>
              <p:tags r:id="rId10"/>
            </p:custDataLst>
          </p:nvPr>
        </p:nvSpPr>
        <p:spPr bwMode="gray">
          <a:xfrm>
            <a:off x="7958138" y="1884363"/>
            <a:ext cx="5476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324FDEA-C387-4FEF-945A-801851E58063}" type="datetime'''''7''''8'''''',''''''7''''''0''9'''''''''''">
              <a:rPr lang="es-CL" altLang="en-US" sz="1400" smtClean="0">
                <a:effectLst/>
              </a:rPr>
              <a:pPr marL="0" indent="0" algn="ctr">
                <a:spcBef>
                  <a:spcPct val="0"/>
                </a:spcBef>
                <a:spcAft>
                  <a:spcPct val="0"/>
                </a:spcAft>
                <a:buNone/>
              </a:pPr>
              <a:t>78,709</a:t>
            </a:fld>
            <a:endParaRPr lang="es-CL" sz="1400"/>
          </a:p>
        </p:txBody>
      </p:sp>
      <p:sp>
        <p:nvSpPr>
          <p:cNvPr id="25" name="Marcador de texto 2">
            <a:extLst>
              <a:ext uri="{FF2B5EF4-FFF2-40B4-BE49-F238E27FC236}">
                <a16:creationId xmlns:a16="http://schemas.microsoft.com/office/drawing/2014/main" id="{7E48156E-6A95-A64B-8520-CD11DA6C5EEF}"/>
              </a:ext>
            </a:extLst>
          </p:cNvPr>
          <p:cNvSpPr>
            <a:spLocks noGrp="1"/>
          </p:cNvSpPr>
          <p:nvPr>
            <p:custDataLst>
              <p:tags r:id="rId11"/>
            </p:custDataLst>
          </p:nvPr>
        </p:nvSpPr>
        <p:spPr bwMode="gray">
          <a:xfrm>
            <a:off x="9023350" y="1774825"/>
            <a:ext cx="5476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570B858-65C2-4B79-8447-4B323FEE14E7}" type="datetime'86'''''''''''''',''9''8''''''''''''''''8'''''''''''''''''''''">
              <a:rPr lang="es-CL" altLang="en-US" sz="1400" smtClean="0">
                <a:effectLst/>
              </a:rPr>
              <a:pPr marL="0" indent="0" algn="ctr">
                <a:spcBef>
                  <a:spcPct val="0"/>
                </a:spcBef>
                <a:spcAft>
                  <a:spcPct val="0"/>
                </a:spcAft>
                <a:buNone/>
              </a:pPr>
              <a:t>86,988</a:t>
            </a:fld>
            <a:endParaRPr lang="es-CL" sz="1400"/>
          </a:p>
        </p:txBody>
      </p:sp>
      <p:graphicFrame>
        <p:nvGraphicFramePr>
          <p:cNvPr id="33" name="Chart 3">
            <a:extLst>
              <a:ext uri="{FF2B5EF4-FFF2-40B4-BE49-F238E27FC236}">
                <a16:creationId xmlns:a16="http://schemas.microsoft.com/office/drawing/2014/main" id="{3A2F89CD-4EDC-F6FE-466A-193B4A34D639}"/>
              </a:ext>
            </a:extLst>
          </p:cNvPr>
          <p:cNvGraphicFramePr/>
          <p:nvPr>
            <p:custDataLst>
              <p:tags r:id="rId12"/>
            </p:custDataLst>
            <p:extLst>
              <p:ext uri="{D42A27DB-BD31-4B8C-83A1-F6EECF244321}">
                <p14:modId xmlns:p14="http://schemas.microsoft.com/office/powerpoint/2010/main" val="2567889189"/>
              </p:ext>
            </p:extLst>
          </p:nvPr>
        </p:nvGraphicFramePr>
        <p:xfrm>
          <a:off x="5487988" y="4119563"/>
          <a:ext cx="4424362" cy="1444625"/>
        </p:xfrm>
        <a:graphic>
          <a:graphicData uri="http://schemas.openxmlformats.org/drawingml/2006/chart">
            <c:chart xmlns:c="http://schemas.openxmlformats.org/drawingml/2006/chart" xmlns:r="http://schemas.openxmlformats.org/officeDocument/2006/relationships" r:id="rId30"/>
          </a:graphicData>
        </a:graphic>
      </p:graphicFrame>
      <p:sp>
        <p:nvSpPr>
          <p:cNvPr id="20" name="Marcador de texto 2">
            <a:extLst>
              <a:ext uri="{FF2B5EF4-FFF2-40B4-BE49-F238E27FC236}">
                <a16:creationId xmlns:a16="http://schemas.microsoft.com/office/drawing/2014/main" id="{4F22E3BC-C101-DBDE-4DA9-49F573D88290}"/>
              </a:ext>
            </a:extLst>
          </p:cNvPr>
          <p:cNvSpPr>
            <a:spLocks noGrp="1"/>
          </p:cNvSpPr>
          <p:nvPr>
            <p:custDataLst>
              <p:tags r:id="rId13"/>
            </p:custDataLst>
          </p:nvPr>
        </p:nvSpPr>
        <p:spPr bwMode="auto">
          <a:xfrm>
            <a:off x="5900738" y="5540375"/>
            <a:ext cx="403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CL" altLang="en-US" sz="1400"/>
              <a:t>1Q24</a:t>
            </a:r>
            <a:endParaRPr lang="es-CL" sz="1400"/>
          </a:p>
        </p:txBody>
      </p:sp>
      <p:sp>
        <p:nvSpPr>
          <p:cNvPr id="21" name="Marcador de texto 2">
            <a:extLst>
              <a:ext uri="{FF2B5EF4-FFF2-40B4-BE49-F238E27FC236}">
                <a16:creationId xmlns:a16="http://schemas.microsoft.com/office/drawing/2014/main" id="{B29F323B-220F-7D45-7998-06F61B6BB0E7}"/>
              </a:ext>
            </a:extLst>
          </p:cNvPr>
          <p:cNvSpPr>
            <a:spLocks noGrp="1"/>
          </p:cNvSpPr>
          <p:nvPr>
            <p:custDataLst>
              <p:tags r:id="rId14"/>
            </p:custDataLst>
          </p:nvPr>
        </p:nvSpPr>
        <p:spPr bwMode="auto">
          <a:xfrm>
            <a:off x="6965950" y="5540375"/>
            <a:ext cx="403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CL" altLang="en-US" sz="1400"/>
              <a:t>1Q25</a:t>
            </a:r>
            <a:endParaRPr lang="es-CL" sz="1400"/>
          </a:p>
        </p:txBody>
      </p:sp>
      <p:sp>
        <p:nvSpPr>
          <p:cNvPr id="22" name="Marcador de texto 2">
            <a:extLst>
              <a:ext uri="{FF2B5EF4-FFF2-40B4-BE49-F238E27FC236}">
                <a16:creationId xmlns:a16="http://schemas.microsoft.com/office/drawing/2014/main" id="{54F7061C-85B2-DE1D-4BB6-8A9341AC8A77}"/>
              </a:ext>
            </a:extLst>
          </p:cNvPr>
          <p:cNvSpPr>
            <a:spLocks noGrp="1"/>
          </p:cNvSpPr>
          <p:nvPr>
            <p:custDataLst>
              <p:tags r:id="rId15"/>
            </p:custDataLst>
          </p:nvPr>
        </p:nvSpPr>
        <p:spPr bwMode="auto">
          <a:xfrm>
            <a:off x="8013700" y="5540375"/>
            <a:ext cx="4365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26AE5B8-87E4-411E-9801-A90F4E60CDF1}" type="datetime'3''''''''''''''''''M2''''''''''''''''''4'''''''''''''''''''''">
              <a:rPr lang="es-CL" altLang="en-US" sz="1400" smtClean="0"/>
              <a:pPr marL="0" indent="0" algn="ctr">
                <a:spcBef>
                  <a:spcPct val="0"/>
                </a:spcBef>
                <a:spcAft>
                  <a:spcPct val="0"/>
                </a:spcAft>
                <a:buNone/>
              </a:pPr>
              <a:t>3M24</a:t>
            </a:fld>
            <a:endParaRPr lang="es-CL" sz="1400"/>
          </a:p>
        </p:txBody>
      </p:sp>
      <p:sp>
        <p:nvSpPr>
          <p:cNvPr id="23" name="Marcador de texto 2">
            <a:extLst>
              <a:ext uri="{FF2B5EF4-FFF2-40B4-BE49-F238E27FC236}">
                <a16:creationId xmlns:a16="http://schemas.microsoft.com/office/drawing/2014/main" id="{A187CE49-324E-E591-FDFF-5015C3EADC9F}"/>
              </a:ext>
            </a:extLst>
          </p:cNvPr>
          <p:cNvSpPr>
            <a:spLocks noGrp="1"/>
          </p:cNvSpPr>
          <p:nvPr>
            <p:custDataLst>
              <p:tags r:id="rId16"/>
            </p:custDataLst>
          </p:nvPr>
        </p:nvSpPr>
        <p:spPr bwMode="auto">
          <a:xfrm>
            <a:off x="9078913" y="5540375"/>
            <a:ext cx="4365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07C57AA-CE12-4E66-8661-7C56833C6FA7}" type="datetime'''''''3''''M''''''''''2''''''5'''''''''''''''''''''''''''''''">
              <a:rPr lang="es-CL" altLang="en-US" sz="1400" smtClean="0"/>
              <a:pPr marL="0" indent="0" algn="ctr">
                <a:spcBef>
                  <a:spcPct val="0"/>
                </a:spcBef>
                <a:spcAft>
                  <a:spcPct val="0"/>
                </a:spcAft>
                <a:buNone/>
              </a:pPr>
              <a:t>3M25</a:t>
            </a:fld>
            <a:endParaRPr lang="es-CL" sz="1400"/>
          </a:p>
        </p:txBody>
      </p:sp>
      <p:sp>
        <p:nvSpPr>
          <p:cNvPr id="24" name="Marcador de texto 2">
            <a:extLst>
              <a:ext uri="{FF2B5EF4-FFF2-40B4-BE49-F238E27FC236}">
                <a16:creationId xmlns:a16="http://schemas.microsoft.com/office/drawing/2014/main" id="{B3D90FA1-9F5C-D70F-F10B-B6C1C8A6A3A3}"/>
              </a:ext>
            </a:extLst>
          </p:cNvPr>
          <p:cNvSpPr>
            <a:spLocks noGrp="1"/>
          </p:cNvSpPr>
          <p:nvPr>
            <p:custDataLst>
              <p:tags r:id="rId17"/>
            </p:custDataLst>
          </p:nvPr>
        </p:nvSpPr>
        <p:spPr bwMode="auto">
          <a:xfrm>
            <a:off x="4967288" y="4716463"/>
            <a:ext cx="696913"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s-CL" altLang="en-US" sz="1400" b="1" err="1"/>
              <a:t>Adjusted</a:t>
            </a:r>
            <a:r>
              <a:rPr lang="es-CL" altLang="en-US" sz="1400"/>
              <a:t> </a:t>
            </a:r>
            <a:br>
              <a:rPr lang="es-CL" altLang="en-US" sz="1400"/>
            </a:br>
            <a:r>
              <a:rPr lang="es-CL" altLang="en-US" sz="1400" b="1"/>
              <a:t>EBITDA</a:t>
            </a:r>
            <a:endParaRPr lang="es-CL" sz="1400" b="1"/>
          </a:p>
        </p:txBody>
      </p:sp>
      <p:sp>
        <p:nvSpPr>
          <p:cNvPr id="27" name="Marcador de texto 2">
            <a:extLst>
              <a:ext uri="{FF2B5EF4-FFF2-40B4-BE49-F238E27FC236}">
                <a16:creationId xmlns:a16="http://schemas.microsoft.com/office/drawing/2014/main" id="{7E48156E-6A95-A64B-8520-CD11DA6C5EEF}"/>
              </a:ext>
            </a:extLst>
          </p:cNvPr>
          <p:cNvSpPr>
            <a:spLocks noGrp="1"/>
          </p:cNvSpPr>
          <p:nvPr>
            <p:custDataLst>
              <p:tags r:id="rId18"/>
            </p:custDataLst>
          </p:nvPr>
        </p:nvSpPr>
        <p:spPr bwMode="gray">
          <a:xfrm>
            <a:off x="5829300" y="4117975"/>
            <a:ext cx="5476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5300D2-E3F0-4F67-B19A-50059AC109E2}" type="datetime'''''''''7''''''''''''''0,''''8''''7''''''''''''4'''''''''">
              <a:rPr lang="es-CL" altLang="en-US" sz="1400" smtClean="0">
                <a:effectLst/>
              </a:rPr>
              <a:pPr marL="0" indent="0" algn="ctr">
                <a:spcBef>
                  <a:spcPct val="0"/>
                </a:spcBef>
                <a:spcAft>
                  <a:spcPct val="0"/>
                </a:spcAft>
                <a:buNone/>
              </a:pPr>
              <a:t>70,874</a:t>
            </a:fld>
            <a:endParaRPr lang="es-CL" sz="1400"/>
          </a:p>
        </p:txBody>
      </p:sp>
      <p:sp>
        <p:nvSpPr>
          <p:cNvPr id="30" name="Marcador de texto 2">
            <a:extLst>
              <a:ext uri="{FF2B5EF4-FFF2-40B4-BE49-F238E27FC236}">
                <a16:creationId xmlns:a16="http://schemas.microsoft.com/office/drawing/2014/main" id="{7E48156E-6A95-A64B-8520-CD11DA6C5EEF}"/>
              </a:ext>
            </a:extLst>
          </p:cNvPr>
          <p:cNvSpPr>
            <a:spLocks noGrp="1"/>
          </p:cNvSpPr>
          <p:nvPr>
            <p:custDataLst>
              <p:tags r:id="rId19"/>
            </p:custDataLst>
          </p:nvPr>
        </p:nvSpPr>
        <p:spPr bwMode="gray">
          <a:xfrm>
            <a:off x="6894513" y="3984625"/>
            <a:ext cx="5476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A0081A7-D64B-44B4-8F47-42F588A687FA}" type="datetime'''''''''7''''''9'''''''',''''15''''''''''''''''''''3'''''">
              <a:rPr lang="es-CL" altLang="en-US" sz="1400" smtClean="0">
                <a:effectLst/>
              </a:rPr>
              <a:pPr marL="0" indent="0" algn="ctr">
                <a:spcBef>
                  <a:spcPct val="0"/>
                </a:spcBef>
                <a:spcAft>
                  <a:spcPct val="0"/>
                </a:spcAft>
                <a:buNone/>
              </a:pPr>
              <a:t>79,153</a:t>
            </a:fld>
            <a:endParaRPr lang="es-CL" sz="1400"/>
          </a:p>
        </p:txBody>
      </p:sp>
      <p:sp>
        <p:nvSpPr>
          <p:cNvPr id="31" name="Marcador de texto 2">
            <a:extLst>
              <a:ext uri="{FF2B5EF4-FFF2-40B4-BE49-F238E27FC236}">
                <a16:creationId xmlns:a16="http://schemas.microsoft.com/office/drawing/2014/main" id="{7E48156E-6A95-A64B-8520-CD11DA6C5EEF}"/>
              </a:ext>
            </a:extLst>
          </p:cNvPr>
          <p:cNvSpPr>
            <a:spLocks noGrp="1"/>
          </p:cNvSpPr>
          <p:nvPr>
            <p:custDataLst>
              <p:tags r:id="rId20"/>
            </p:custDataLst>
          </p:nvPr>
        </p:nvSpPr>
        <p:spPr bwMode="gray">
          <a:xfrm>
            <a:off x="7958138" y="4117975"/>
            <a:ext cx="5476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E26A9DF-7833-4B81-82B9-F85FAC3E10CB}" type="datetime'''7''''''''0,8''''''''''''''''''''7''''''''''''4'''''''''''''">
              <a:rPr lang="es-CL" altLang="en-US" sz="1400" smtClean="0">
                <a:effectLst/>
              </a:rPr>
              <a:pPr marL="0" indent="0" algn="ctr">
                <a:spcBef>
                  <a:spcPct val="0"/>
                </a:spcBef>
                <a:spcAft>
                  <a:spcPct val="0"/>
                </a:spcAft>
                <a:buNone/>
              </a:pPr>
              <a:t>70,874</a:t>
            </a:fld>
            <a:endParaRPr lang="es-CL" sz="1400"/>
          </a:p>
        </p:txBody>
      </p:sp>
      <p:sp>
        <p:nvSpPr>
          <p:cNvPr id="32" name="Marcador de texto 2">
            <a:extLst>
              <a:ext uri="{FF2B5EF4-FFF2-40B4-BE49-F238E27FC236}">
                <a16:creationId xmlns:a16="http://schemas.microsoft.com/office/drawing/2014/main" id="{7E48156E-6A95-A64B-8520-CD11DA6C5EEF}"/>
              </a:ext>
            </a:extLst>
          </p:cNvPr>
          <p:cNvSpPr>
            <a:spLocks noGrp="1"/>
          </p:cNvSpPr>
          <p:nvPr>
            <p:custDataLst>
              <p:tags r:id="rId21"/>
            </p:custDataLst>
          </p:nvPr>
        </p:nvSpPr>
        <p:spPr bwMode="gray">
          <a:xfrm>
            <a:off x="9023350" y="3984625"/>
            <a:ext cx="5476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05F8AB4-79EC-45F2-B1E6-AAA0F3395914}" type="datetime'7''''9'''',''''''''1''''5''3'''''''''">
              <a:rPr lang="es-CL" altLang="en-US" sz="1400" smtClean="0">
                <a:effectLst/>
              </a:rPr>
              <a:pPr marL="0" indent="0" algn="ctr">
                <a:spcBef>
                  <a:spcPct val="0"/>
                </a:spcBef>
                <a:spcAft>
                  <a:spcPct val="0"/>
                </a:spcAft>
                <a:buNone/>
              </a:pPr>
              <a:t>79,153</a:t>
            </a:fld>
            <a:endParaRPr lang="es-CL" sz="1400"/>
          </a:p>
        </p:txBody>
      </p:sp>
      <p:pic>
        <p:nvPicPr>
          <p:cNvPr id="28" name="Imagen 27">
            <a:extLst>
              <a:ext uri="{FF2B5EF4-FFF2-40B4-BE49-F238E27FC236}">
                <a16:creationId xmlns:a16="http://schemas.microsoft.com/office/drawing/2014/main" id="{5020D74B-C442-6BB5-929A-600C394704EA}"/>
              </a:ext>
            </a:extLst>
          </p:cNvPr>
          <p:cNvPicPr>
            <a:picLocks noChangeAspect="1"/>
          </p:cNvPicPr>
          <p:nvPr/>
        </p:nvPicPr>
        <p:blipFill>
          <a:blip r:embed="rId31"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0565446" y="1752495"/>
            <a:ext cx="580223" cy="563157"/>
          </a:xfrm>
          <a:prstGeom prst="rect">
            <a:avLst/>
          </a:prstGeom>
        </p:spPr>
      </p:pic>
      <p:sp>
        <p:nvSpPr>
          <p:cNvPr id="29" name="Cuadro de texto 334">
            <a:extLst>
              <a:ext uri="{FF2B5EF4-FFF2-40B4-BE49-F238E27FC236}">
                <a16:creationId xmlns:a16="http://schemas.microsoft.com/office/drawing/2014/main" id="{85EF8586-B544-F8BF-0C22-53E18F49A5F5}"/>
              </a:ext>
            </a:extLst>
          </p:cNvPr>
          <p:cNvSpPr txBox="1">
            <a:spLocks noChangeArrowheads="1"/>
          </p:cNvSpPr>
          <p:nvPr/>
        </p:nvSpPr>
        <p:spPr bwMode="auto">
          <a:xfrm>
            <a:off x="9935205" y="2431704"/>
            <a:ext cx="1819605" cy="76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ts val="600"/>
              </a:spcAft>
            </a:pPr>
            <a:r>
              <a:rPr lang="es-CL" altLang="es-CL" sz="1400" b="1" err="1">
                <a:solidFill>
                  <a:schemeClr val="tx2"/>
                </a:solidFill>
                <a:latin typeface="Poppins" pitchFamily="2" charset="77"/>
                <a:cs typeface="Poppins" pitchFamily="2" charset="77"/>
              </a:rPr>
              <a:t>Revenues</a:t>
            </a:r>
            <a:endParaRPr lang="es-CL" altLang="es-CL" sz="1400" b="1">
              <a:solidFill>
                <a:schemeClr val="tx2"/>
              </a:solidFill>
              <a:latin typeface="Poppins" pitchFamily="2" charset="77"/>
              <a:cs typeface="Poppins" pitchFamily="2" charset="77"/>
            </a:endParaRPr>
          </a:p>
          <a:p>
            <a:pPr algn="ctr" eaLnBrk="0" fontAlgn="base" hangingPunct="0">
              <a:spcBef>
                <a:spcPct val="0"/>
              </a:spcBef>
              <a:spcAft>
                <a:spcPts val="600"/>
              </a:spcAft>
            </a:pPr>
            <a:r>
              <a:rPr lang="es-CL" altLang="es-CL" sz="2400" b="1">
                <a:solidFill>
                  <a:schemeClr val="tx2"/>
                </a:solidFill>
                <a:latin typeface="Poppins" pitchFamily="2" charset="77"/>
                <a:cs typeface="Poppins" pitchFamily="2" charset="77"/>
              </a:rPr>
              <a:t>+10.5% </a:t>
            </a:r>
            <a:r>
              <a:rPr lang="es-CL" altLang="es-CL" sz="1200" b="1" err="1">
                <a:solidFill>
                  <a:schemeClr val="tx2"/>
                </a:solidFill>
                <a:latin typeface="Poppins" pitchFamily="2" charset="77"/>
                <a:cs typeface="Poppins" pitchFamily="2" charset="77"/>
              </a:rPr>
              <a:t>YoY</a:t>
            </a:r>
            <a:endParaRPr lang="es-CL" altLang="es-CL" sz="2400" b="1">
              <a:solidFill>
                <a:schemeClr val="tx2"/>
              </a:solidFill>
              <a:latin typeface="Poppins" pitchFamily="2" charset="77"/>
              <a:cs typeface="Poppins" pitchFamily="2" charset="77"/>
            </a:endParaRPr>
          </a:p>
        </p:txBody>
      </p:sp>
      <p:pic>
        <p:nvPicPr>
          <p:cNvPr id="2" name="Imagen 1">
            <a:extLst>
              <a:ext uri="{FF2B5EF4-FFF2-40B4-BE49-F238E27FC236}">
                <a16:creationId xmlns:a16="http://schemas.microsoft.com/office/drawing/2014/main" id="{743BA1F8-7EC8-B61C-94C5-966914B6BD79}"/>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655388" y="3289942"/>
            <a:ext cx="91537" cy="185848"/>
          </a:xfrm>
          <a:prstGeom prst="rect">
            <a:avLst/>
          </a:prstGeom>
        </p:spPr>
      </p:pic>
      <p:sp>
        <p:nvSpPr>
          <p:cNvPr id="11" name="CuadroTexto 10">
            <a:extLst>
              <a:ext uri="{FF2B5EF4-FFF2-40B4-BE49-F238E27FC236}">
                <a16:creationId xmlns:a16="http://schemas.microsoft.com/office/drawing/2014/main" id="{49D14489-0C9C-8323-CB1B-03B9ED9BC6A2}"/>
              </a:ext>
            </a:extLst>
          </p:cNvPr>
          <p:cNvSpPr txBox="1"/>
          <p:nvPr/>
        </p:nvSpPr>
        <p:spPr>
          <a:xfrm>
            <a:off x="491796" y="207049"/>
            <a:ext cx="9730378" cy="1015663"/>
          </a:xfrm>
          <a:prstGeom prst="rect">
            <a:avLst/>
          </a:prstGeom>
          <a:noFill/>
        </p:spPr>
        <p:txBody>
          <a:bodyPr wrap="square" rtlCol="0">
            <a:spAutoFit/>
          </a:bodyPr>
          <a:lstStyle/>
          <a:p>
            <a:r>
              <a:rPr lang="es-CL" sz="3000" b="1">
                <a:solidFill>
                  <a:schemeClr val="accent3"/>
                </a:solidFill>
                <a:latin typeface="Poppins" pitchFamily="2" charset="77"/>
                <a:cs typeface="Poppins" pitchFamily="2" charset="77"/>
              </a:rPr>
              <a:t>2.4</a:t>
            </a:r>
            <a:r>
              <a:rPr lang="es-CL" sz="3000" b="1">
                <a:solidFill>
                  <a:schemeClr val="tx2"/>
                </a:solidFill>
                <a:latin typeface="Poppins" pitchFamily="2" charset="77"/>
                <a:cs typeface="Poppins" pitchFamily="2" charset="77"/>
              </a:rPr>
              <a:t> </a:t>
            </a:r>
            <a:r>
              <a:rPr lang="en-US" sz="3000" b="1">
                <a:solidFill>
                  <a:schemeClr val="tx2"/>
                </a:solidFill>
                <a:latin typeface="Poppins" pitchFamily="2" charset="77"/>
                <a:cs typeface="Poppins" pitchFamily="2" charset="77"/>
              </a:rPr>
              <a:t>Chile – New Projects Driving Growth and Profitability</a:t>
            </a:r>
            <a:endParaRPr lang="es-CL" sz="3000" b="1">
              <a:solidFill>
                <a:schemeClr val="tx2"/>
              </a:solidFill>
              <a:latin typeface="Poppins" pitchFamily="2" charset="77"/>
              <a:cs typeface="Poppins" pitchFamily="2" charset="77"/>
            </a:endParaRPr>
          </a:p>
        </p:txBody>
      </p:sp>
      <p:sp>
        <p:nvSpPr>
          <p:cNvPr id="12" name="Marcador de número de diapositiva 1">
            <a:extLst>
              <a:ext uri="{FF2B5EF4-FFF2-40B4-BE49-F238E27FC236}">
                <a16:creationId xmlns:a16="http://schemas.microsoft.com/office/drawing/2014/main" id="{0B222A11-6614-424B-A2C1-C7D3F17B8F67}"/>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12</a:t>
            </a:fld>
            <a:endParaRPr lang="es-CL"/>
          </a:p>
        </p:txBody>
      </p:sp>
      <p:pic>
        <p:nvPicPr>
          <p:cNvPr id="13" name="Imagen 12">
            <a:extLst>
              <a:ext uri="{FF2B5EF4-FFF2-40B4-BE49-F238E27FC236}">
                <a16:creationId xmlns:a16="http://schemas.microsoft.com/office/drawing/2014/main" id="{654F7D48-1931-874A-B0C5-CE2449191FDD}"/>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655388" y="2823103"/>
            <a:ext cx="91537" cy="185848"/>
          </a:xfrm>
          <a:prstGeom prst="rect">
            <a:avLst/>
          </a:prstGeom>
        </p:spPr>
      </p:pic>
    </p:spTree>
    <p:extLst>
      <p:ext uri="{BB962C8B-B14F-4D97-AF65-F5344CB8AC3E}">
        <p14:creationId xmlns:p14="http://schemas.microsoft.com/office/powerpoint/2010/main" val="28247323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04D3D2-802F-2C73-5DD5-AFBD84C07F1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142E86D-5042-A999-705F-BB951B1722C4}"/>
              </a:ext>
            </a:extLst>
          </p:cNvPr>
          <p:cNvGraphicFramePr>
            <a:graphicFrameLocks noChangeAspect="1"/>
          </p:cNvGraphicFramePr>
          <p:nvPr>
            <p:custDataLst>
              <p:tags r:id="rId1"/>
            </p:custDataLst>
            <p:extLst>
              <p:ext uri="{D42A27DB-BD31-4B8C-83A1-F6EECF244321}">
                <p14:modId xmlns:p14="http://schemas.microsoft.com/office/powerpoint/2010/main" val="2108879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24" imgW="395" imgH="396" progId="TCLayout.ActiveDocument.1">
                  <p:embed/>
                </p:oleObj>
              </mc:Choice>
              <mc:Fallback>
                <p:oleObj name="Diapositiva de think-cell" r:id="rId24" imgW="395" imgH="396" progId="TCLayout.ActiveDocument.1">
                  <p:embed/>
                  <p:pic>
                    <p:nvPicPr>
                      <p:cNvPr id="7" name="think-cell data - do not delete" hidden="1">
                        <a:extLst>
                          <a:ext uri="{FF2B5EF4-FFF2-40B4-BE49-F238E27FC236}">
                            <a16:creationId xmlns:a16="http://schemas.microsoft.com/office/drawing/2014/main" id="{2142E86D-5042-A999-705F-BB951B1722C4}"/>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Redondear rectángulo de una esquina 6">
            <a:extLst>
              <a:ext uri="{FF2B5EF4-FFF2-40B4-BE49-F238E27FC236}">
                <a16:creationId xmlns:a16="http://schemas.microsoft.com/office/drawing/2014/main" id="{35EB8480-7490-230E-AE0C-D9EC6F0D8BAD}"/>
              </a:ext>
            </a:extLst>
          </p:cNvPr>
          <p:cNvSpPr/>
          <p:nvPr/>
        </p:nvSpPr>
        <p:spPr>
          <a:xfrm>
            <a:off x="425876" y="1228003"/>
            <a:ext cx="4371466" cy="4401994"/>
          </a:xfrm>
          <a:prstGeom prst="roundRect">
            <a:avLst>
              <a:gd name="adj" fmla="val 552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Forma libre 15">
            <a:extLst>
              <a:ext uri="{FF2B5EF4-FFF2-40B4-BE49-F238E27FC236}">
                <a16:creationId xmlns:a16="http://schemas.microsoft.com/office/drawing/2014/main" id="{BF414253-9FCB-E108-A0A2-3C127AC2421F}"/>
              </a:ext>
            </a:extLst>
          </p:cNvPr>
          <p:cNvSpPr/>
          <p:nvPr/>
        </p:nvSpPr>
        <p:spPr>
          <a:xfrm flipV="1">
            <a:off x="4859416" y="3550657"/>
            <a:ext cx="7332584" cy="3307342"/>
          </a:xfrm>
          <a:custGeom>
            <a:avLst/>
            <a:gdLst>
              <a:gd name="connsiteX0" fmla="*/ 1181100 w 5930900"/>
              <a:gd name="connsiteY0" fmla="*/ 0 h 3759200"/>
              <a:gd name="connsiteX1" fmla="*/ 5930900 w 5930900"/>
              <a:gd name="connsiteY1" fmla="*/ 12700 h 3759200"/>
              <a:gd name="connsiteX2" fmla="*/ 5918200 w 5930900"/>
              <a:gd name="connsiteY2" fmla="*/ 3721100 h 3759200"/>
              <a:gd name="connsiteX3" fmla="*/ 3810000 w 5930900"/>
              <a:gd name="connsiteY3" fmla="*/ 3136900 h 3759200"/>
              <a:gd name="connsiteX4" fmla="*/ 1828800 w 5930900"/>
              <a:gd name="connsiteY4" fmla="*/ 3759200 h 3759200"/>
              <a:gd name="connsiteX5" fmla="*/ 0 w 5930900"/>
              <a:gd name="connsiteY5" fmla="*/ 2768600 h 3759200"/>
              <a:gd name="connsiteX6" fmla="*/ 1181100 w 5930900"/>
              <a:gd name="connsiteY6" fmla="*/ 0 h 3759200"/>
              <a:gd name="connsiteX0" fmla="*/ 1181100 w 5930900"/>
              <a:gd name="connsiteY0" fmla="*/ 255434 h 4014634"/>
              <a:gd name="connsiteX1" fmla="*/ 5930900 w 5930900"/>
              <a:gd name="connsiteY1" fmla="*/ 268134 h 4014634"/>
              <a:gd name="connsiteX2" fmla="*/ 5918200 w 5930900"/>
              <a:gd name="connsiteY2" fmla="*/ 3976534 h 4014634"/>
              <a:gd name="connsiteX3" fmla="*/ 3810000 w 5930900"/>
              <a:gd name="connsiteY3" fmla="*/ 3392334 h 4014634"/>
              <a:gd name="connsiteX4" fmla="*/ 1828800 w 5930900"/>
              <a:gd name="connsiteY4" fmla="*/ 4014634 h 4014634"/>
              <a:gd name="connsiteX5" fmla="*/ 0 w 5930900"/>
              <a:gd name="connsiteY5" fmla="*/ 3024034 h 4014634"/>
              <a:gd name="connsiteX6" fmla="*/ 1181100 w 5930900"/>
              <a:gd name="connsiteY6" fmla="*/ 255434 h 4014634"/>
              <a:gd name="connsiteX0" fmla="*/ 1181100 w 5930900"/>
              <a:gd name="connsiteY0" fmla="*/ 356033 h 4115233"/>
              <a:gd name="connsiteX1" fmla="*/ 5930900 w 5930900"/>
              <a:gd name="connsiteY1" fmla="*/ 368733 h 4115233"/>
              <a:gd name="connsiteX2" fmla="*/ 5918200 w 5930900"/>
              <a:gd name="connsiteY2" fmla="*/ 4077133 h 4115233"/>
              <a:gd name="connsiteX3" fmla="*/ 3810000 w 5930900"/>
              <a:gd name="connsiteY3" fmla="*/ 3492933 h 4115233"/>
              <a:gd name="connsiteX4" fmla="*/ 1828800 w 5930900"/>
              <a:gd name="connsiteY4" fmla="*/ 4115233 h 4115233"/>
              <a:gd name="connsiteX5" fmla="*/ 0 w 5930900"/>
              <a:gd name="connsiteY5" fmla="*/ 3124633 h 4115233"/>
              <a:gd name="connsiteX6" fmla="*/ 1181100 w 5930900"/>
              <a:gd name="connsiteY6" fmla="*/ 356033 h 4115233"/>
              <a:gd name="connsiteX0" fmla="*/ 1181100 w 5930900"/>
              <a:gd name="connsiteY0" fmla="*/ 356033 h 4115233"/>
              <a:gd name="connsiteX1" fmla="*/ 5930900 w 5930900"/>
              <a:gd name="connsiteY1" fmla="*/ 368733 h 4115233"/>
              <a:gd name="connsiteX2" fmla="*/ 5918200 w 5930900"/>
              <a:gd name="connsiteY2" fmla="*/ 4077133 h 4115233"/>
              <a:gd name="connsiteX3" fmla="*/ 3810000 w 5930900"/>
              <a:gd name="connsiteY3" fmla="*/ 3492933 h 4115233"/>
              <a:gd name="connsiteX4" fmla="*/ 1828800 w 5930900"/>
              <a:gd name="connsiteY4" fmla="*/ 4115233 h 4115233"/>
              <a:gd name="connsiteX5" fmla="*/ 0 w 5930900"/>
              <a:gd name="connsiteY5" fmla="*/ 3124633 h 4115233"/>
              <a:gd name="connsiteX6" fmla="*/ 1181100 w 5930900"/>
              <a:gd name="connsiteY6" fmla="*/ 356033 h 4115233"/>
              <a:gd name="connsiteX0" fmla="*/ 1181100 w 5930900"/>
              <a:gd name="connsiteY0" fmla="*/ 356033 h 4115233"/>
              <a:gd name="connsiteX1" fmla="*/ 5930900 w 5930900"/>
              <a:gd name="connsiteY1" fmla="*/ 368733 h 4115233"/>
              <a:gd name="connsiteX2" fmla="*/ 5918200 w 5930900"/>
              <a:gd name="connsiteY2" fmla="*/ 4077133 h 4115233"/>
              <a:gd name="connsiteX3" fmla="*/ 3810000 w 5930900"/>
              <a:gd name="connsiteY3" fmla="*/ 3492933 h 4115233"/>
              <a:gd name="connsiteX4" fmla="*/ 1828800 w 5930900"/>
              <a:gd name="connsiteY4" fmla="*/ 4115233 h 4115233"/>
              <a:gd name="connsiteX5" fmla="*/ 0 w 5930900"/>
              <a:gd name="connsiteY5" fmla="*/ 3124633 h 4115233"/>
              <a:gd name="connsiteX6" fmla="*/ 1181100 w 5930900"/>
              <a:gd name="connsiteY6" fmla="*/ 356033 h 4115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30900" h="4115233">
                <a:moveTo>
                  <a:pt x="1181100" y="356033"/>
                </a:moveTo>
                <a:cubicBezTo>
                  <a:pt x="2878667" y="-223934"/>
                  <a:pt x="5008033" y="-3800"/>
                  <a:pt x="5930900" y="368733"/>
                </a:cubicBezTo>
                <a:cubicBezTo>
                  <a:pt x="5926667" y="1604866"/>
                  <a:pt x="5922433" y="2841000"/>
                  <a:pt x="5918200" y="4077133"/>
                </a:cubicBezTo>
                <a:cubicBezTo>
                  <a:pt x="5710767" y="3806200"/>
                  <a:pt x="4741333" y="3433666"/>
                  <a:pt x="3810000" y="3492933"/>
                </a:cubicBezTo>
                <a:lnTo>
                  <a:pt x="1828800" y="4115233"/>
                </a:lnTo>
                <a:lnTo>
                  <a:pt x="0" y="3124633"/>
                </a:lnTo>
                <a:lnTo>
                  <a:pt x="1181100" y="356033"/>
                </a:lnTo>
                <a:close/>
              </a:path>
            </a:pathLst>
          </a:custGeom>
          <a:solidFill>
            <a:srgbClr val="DA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73" name="CuadroTexto 72">
            <a:extLst>
              <a:ext uri="{FF2B5EF4-FFF2-40B4-BE49-F238E27FC236}">
                <a16:creationId xmlns:a16="http://schemas.microsoft.com/office/drawing/2014/main" id="{9000E80C-7279-1C28-7A7B-9C69EC4760B8}"/>
              </a:ext>
            </a:extLst>
          </p:cNvPr>
          <p:cNvSpPr txBox="1"/>
          <p:nvPr/>
        </p:nvSpPr>
        <p:spPr>
          <a:xfrm>
            <a:off x="709309" y="1982845"/>
            <a:ext cx="3980278" cy="3293209"/>
          </a:xfrm>
          <a:prstGeom prst="rect">
            <a:avLst/>
          </a:prstGeom>
          <a:noFill/>
        </p:spPr>
        <p:txBody>
          <a:bodyPr wrap="square" rtlCol="0">
            <a:spAutoFit/>
          </a:bodyPr>
          <a:lstStyle/>
          <a:p>
            <a:pPr algn="just"/>
            <a:r>
              <a:rPr lang="es-CL" sz="1600" b="1" err="1">
                <a:solidFill>
                  <a:schemeClr val="tx2"/>
                </a:solidFill>
                <a:latin typeface="Poppins" pitchFamily="2" charset="77"/>
                <a:cs typeface="Poppins" pitchFamily="2" charset="77"/>
              </a:rPr>
              <a:t>Revenues</a:t>
            </a:r>
            <a:endParaRPr lang="es-CL" sz="1600" b="1">
              <a:solidFill>
                <a:schemeClr val="tx2"/>
              </a:solidFill>
              <a:latin typeface="Poppins" pitchFamily="2" charset="77"/>
              <a:cs typeface="Poppins" pitchFamily="2" charset="77"/>
            </a:endParaRPr>
          </a:p>
          <a:p>
            <a:pPr algn="just">
              <a:spcBef>
                <a:spcPts val="600"/>
              </a:spcBef>
              <a:buClr>
                <a:srgbClr val="002060"/>
              </a:buClr>
            </a:pPr>
            <a:r>
              <a:rPr lang="en-US" sz="1300">
                <a:solidFill>
                  <a:schemeClr val="tx2"/>
                </a:solidFill>
                <a:latin typeface="Poppins" pitchFamily="2" charset="77"/>
                <a:cs typeface="Poppins" pitchFamily="2" charset="77"/>
              </a:rPr>
              <a:t>Cenco La Molina recorded a 76.7% YoY increase in foot traffic, reflecting a higher maturity of the shopping center.</a:t>
            </a:r>
          </a:p>
          <a:p>
            <a:pPr algn="just">
              <a:spcBef>
                <a:spcPts val="600"/>
              </a:spcBef>
              <a:buClr>
                <a:srgbClr val="002060"/>
              </a:buClr>
            </a:pPr>
            <a:r>
              <a:rPr lang="en-US" sz="1300">
                <a:solidFill>
                  <a:schemeClr val="tx2"/>
                </a:solidFill>
                <a:latin typeface="Poppins" pitchFamily="2" charset="77"/>
                <a:cs typeface="Poppins" pitchFamily="2" charset="77"/>
              </a:rPr>
              <a:t>Cenco Lima (formerly San Juan de Lurigancho) showed weaker performance due to lower occupancy and sales.</a:t>
            </a:r>
            <a:endParaRPr lang="es-CL" sz="1300">
              <a:solidFill>
                <a:schemeClr val="tx2"/>
              </a:solidFill>
              <a:latin typeface="Poppins" pitchFamily="2" charset="77"/>
              <a:cs typeface="Poppins" pitchFamily="2" charset="77"/>
            </a:endParaRPr>
          </a:p>
          <a:p>
            <a:pPr algn="just">
              <a:spcBef>
                <a:spcPts val="600"/>
              </a:spcBef>
              <a:buClr>
                <a:srgbClr val="002060"/>
              </a:buClr>
            </a:pPr>
            <a:endParaRPr lang="es-CL" sz="1600" b="1">
              <a:solidFill>
                <a:schemeClr val="tx2"/>
              </a:solidFill>
              <a:latin typeface="Poppins" pitchFamily="2" charset="77"/>
              <a:cs typeface="Poppins" pitchFamily="2" charset="77"/>
            </a:endParaRPr>
          </a:p>
          <a:p>
            <a:pPr algn="just">
              <a:spcBef>
                <a:spcPts val="600"/>
              </a:spcBef>
              <a:buClr>
                <a:srgbClr val="002060"/>
              </a:buClr>
            </a:pPr>
            <a:r>
              <a:rPr lang="es-CL" sz="1600" b="1" err="1">
                <a:solidFill>
                  <a:schemeClr val="tx2"/>
                </a:solidFill>
                <a:latin typeface="Poppins" pitchFamily="2" charset="77"/>
                <a:cs typeface="Poppins" pitchFamily="2" charset="77"/>
              </a:rPr>
              <a:t>Adjusted</a:t>
            </a:r>
            <a:r>
              <a:rPr lang="es-CL" sz="1600" b="1">
                <a:solidFill>
                  <a:schemeClr val="tx2"/>
                </a:solidFill>
                <a:latin typeface="Poppins" pitchFamily="2" charset="77"/>
                <a:cs typeface="Poppins" pitchFamily="2" charset="77"/>
              </a:rPr>
              <a:t> EBITDA</a:t>
            </a:r>
            <a:endParaRPr lang="es-CL" sz="1300">
              <a:solidFill>
                <a:schemeClr val="tx2"/>
              </a:solidFill>
              <a:latin typeface="Poppins" pitchFamily="2" charset="77"/>
              <a:cs typeface="Poppins" pitchFamily="2" charset="77"/>
            </a:endParaRPr>
          </a:p>
          <a:p>
            <a:pPr algn="just">
              <a:spcBef>
                <a:spcPts val="600"/>
              </a:spcBef>
              <a:buClr>
                <a:srgbClr val="002060"/>
              </a:buClr>
            </a:pPr>
            <a:r>
              <a:rPr lang="en-US" sz="1300">
                <a:solidFill>
                  <a:schemeClr val="tx2"/>
                </a:solidFill>
                <a:latin typeface="Poppins" pitchFamily="2" charset="77"/>
                <a:cs typeface="Poppins" pitchFamily="2" charset="77"/>
              </a:rPr>
              <a:t>Gross profit expanded by 5.3% in local currency.</a:t>
            </a:r>
          </a:p>
          <a:p>
            <a:pPr algn="just">
              <a:spcBef>
                <a:spcPts val="600"/>
              </a:spcBef>
              <a:buClr>
                <a:srgbClr val="002060"/>
              </a:buClr>
            </a:pPr>
            <a:r>
              <a:rPr lang="en-US" sz="1300">
                <a:solidFill>
                  <a:schemeClr val="tx2"/>
                </a:solidFill>
                <a:latin typeface="Poppins" pitchFamily="2" charset="77"/>
                <a:cs typeface="Poppins" pitchFamily="2" charset="77"/>
              </a:rPr>
              <a:t>Reduction in expenses during the quarter compared to 1Q24.</a:t>
            </a:r>
            <a:endParaRPr lang="es-CL" sz="1600">
              <a:solidFill>
                <a:schemeClr val="tx2"/>
              </a:solidFill>
              <a:latin typeface="Poppins" pitchFamily="2" charset="77"/>
              <a:cs typeface="Poppins" pitchFamily="2" charset="77"/>
            </a:endParaRPr>
          </a:p>
        </p:txBody>
      </p:sp>
      <p:pic>
        <p:nvPicPr>
          <p:cNvPr id="74" name="Imagen 73">
            <a:extLst>
              <a:ext uri="{FF2B5EF4-FFF2-40B4-BE49-F238E27FC236}">
                <a16:creationId xmlns:a16="http://schemas.microsoft.com/office/drawing/2014/main" id="{471C136E-FB79-1F57-4F0E-DD2696D0991B}"/>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647235" y="2356262"/>
            <a:ext cx="91537" cy="185848"/>
          </a:xfrm>
          <a:prstGeom prst="rect">
            <a:avLst/>
          </a:prstGeom>
        </p:spPr>
      </p:pic>
      <p:pic>
        <p:nvPicPr>
          <p:cNvPr id="75" name="Imagen 74">
            <a:extLst>
              <a:ext uri="{FF2B5EF4-FFF2-40B4-BE49-F238E27FC236}">
                <a16:creationId xmlns:a16="http://schemas.microsoft.com/office/drawing/2014/main" id="{3EE01F89-0EAA-515B-953A-C4A90EEC8E30}"/>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647235" y="3011247"/>
            <a:ext cx="91537" cy="185848"/>
          </a:xfrm>
          <a:prstGeom prst="rect">
            <a:avLst/>
          </a:prstGeom>
        </p:spPr>
      </p:pic>
      <p:pic>
        <p:nvPicPr>
          <p:cNvPr id="93" name="Imagen 92">
            <a:extLst>
              <a:ext uri="{FF2B5EF4-FFF2-40B4-BE49-F238E27FC236}">
                <a16:creationId xmlns:a16="http://schemas.microsoft.com/office/drawing/2014/main" id="{1133B4E6-E29B-C5EC-6CA1-5AA88538E59B}"/>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647235" y="4333854"/>
            <a:ext cx="91537" cy="185848"/>
          </a:xfrm>
          <a:prstGeom prst="rect">
            <a:avLst/>
          </a:prstGeom>
        </p:spPr>
      </p:pic>
      <p:pic>
        <p:nvPicPr>
          <p:cNvPr id="94" name="Imagen 93">
            <a:extLst>
              <a:ext uri="{FF2B5EF4-FFF2-40B4-BE49-F238E27FC236}">
                <a16:creationId xmlns:a16="http://schemas.microsoft.com/office/drawing/2014/main" id="{278EDCDC-0114-3DDD-B79E-292C5C7A4B0C}"/>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647235" y="4812152"/>
            <a:ext cx="91537" cy="185848"/>
          </a:xfrm>
          <a:prstGeom prst="rect">
            <a:avLst/>
          </a:prstGeom>
        </p:spPr>
      </p:pic>
      <p:sp>
        <p:nvSpPr>
          <p:cNvPr id="8" name="Cuadro de texto 334">
            <a:extLst>
              <a:ext uri="{FF2B5EF4-FFF2-40B4-BE49-F238E27FC236}">
                <a16:creationId xmlns:a16="http://schemas.microsoft.com/office/drawing/2014/main" id="{9941D662-747A-0476-62DA-A304C4D9229B}"/>
              </a:ext>
            </a:extLst>
          </p:cNvPr>
          <p:cNvSpPr txBox="1">
            <a:spLocks noChangeArrowheads="1"/>
          </p:cNvSpPr>
          <p:nvPr/>
        </p:nvSpPr>
        <p:spPr bwMode="auto">
          <a:xfrm>
            <a:off x="1080669" y="1427881"/>
            <a:ext cx="1478824" cy="376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r>
              <a:rPr lang="es-CL" sz="2000" b="1" err="1">
                <a:solidFill>
                  <a:schemeClr val="tx2"/>
                </a:solidFill>
                <a:latin typeface="Poppins" pitchFamily="2" charset="77"/>
                <a:cs typeface="Poppins" pitchFamily="2" charset="77"/>
              </a:rPr>
              <a:t>Peru</a:t>
            </a:r>
            <a:endParaRPr kumimoji="0" lang="es-CL" altLang="es-CL" sz="1100" b="1" i="0" u="none" strike="noStrike" cap="none" normalizeH="0" baseline="0">
              <a:ln>
                <a:noFill/>
              </a:ln>
              <a:solidFill>
                <a:schemeClr val="tx2"/>
              </a:solidFill>
              <a:effectLst/>
              <a:latin typeface="Poppins" pitchFamily="2" charset="77"/>
              <a:cs typeface="Poppins" pitchFamily="2" charset="77"/>
            </a:endParaRPr>
          </a:p>
        </p:txBody>
      </p:sp>
      <p:pic>
        <p:nvPicPr>
          <p:cNvPr id="9" name="Picture 1556388203" descr="Logotipo&#10;&#10;Descripción generada automáticamente">
            <a:extLst>
              <a:ext uri="{FF2B5EF4-FFF2-40B4-BE49-F238E27FC236}">
                <a16:creationId xmlns:a16="http://schemas.microsoft.com/office/drawing/2014/main" id="{22991B33-0F6E-A47C-F958-1EA57C721535}"/>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29898" y="1417046"/>
            <a:ext cx="485945" cy="407142"/>
          </a:xfrm>
          <a:prstGeom prst="rect">
            <a:avLst/>
          </a:prstGeom>
        </p:spPr>
      </p:pic>
      <p:pic>
        <p:nvPicPr>
          <p:cNvPr id="17" name="Imagen 16">
            <a:extLst>
              <a:ext uri="{FF2B5EF4-FFF2-40B4-BE49-F238E27FC236}">
                <a16:creationId xmlns:a16="http://schemas.microsoft.com/office/drawing/2014/main" id="{B85AAE45-5516-AF86-4D35-48E77B5A1DCD}"/>
              </a:ext>
            </a:extLst>
          </p:cNvPr>
          <p:cNvPicPr>
            <a:picLocks noChangeAspect="1"/>
          </p:cNvPicPr>
          <p:nvPr/>
        </p:nvPicPr>
        <p:blipFill>
          <a:blip r:embed="rId28"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463214" y="4054735"/>
            <a:ext cx="792581" cy="749032"/>
          </a:xfrm>
          <a:prstGeom prst="rect">
            <a:avLst/>
          </a:prstGeom>
        </p:spPr>
      </p:pic>
      <p:sp>
        <p:nvSpPr>
          <p:cNvPr id="18" name="Cuadro de texto 334">
            <a:extLst>
              <a:ext uri="{FF2B5EF4-FFF2-40B4-BE49-F238E27FC236}">
                <a16:creationId xmlns:a16="http://schemas.microsoft.com/office/drawing/2014/main" id="{55B1767B-7A2F-3A6C-9215-692B682C48BE}"/>
              </a:ext>
            </a:extLst>
          </p:cNvPr>
          <p:cNvSpPr txBox="1">
            <a:spLocks noChangeArrowheads="1"/>
          </p:cNvSpPr>
          <p:nvPr/>
        </p:nvSpPr>
        <p:spPr bwMode="auto">
          <a:xfrm>
            <a:off x="9719227" y="4916271"/>
            <a:ext cx="2295977" cy="76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ts val="600"/>
              </a:spcAft>
            </a:pPr>
            <a:r>
              <a:rPr lang="es-CL" altLang="es-CL" sz="1400" b="1" err="1">
                <a:solidFill>
                  <a:schemeClr val="tx2"/>
                </a:solidFill>
                <a:latin typeface="Poppins" pitchFamily="2" charset="77"/>
                <a:cs typeface="Poppins" pitchFamily="2" charset="77"/>
              </a:rPr>
              <a:t>Adjusted</a:t>
            </a:r>
            <a:r>
              <a:rPr lang="es-CL" altLang="es-CL" sz="1400" b="1">
                <a:solidFill>
                  <a:schemeClr val="tx2"/>
                </a:solidFill>
                <a:latin typeface="Poppins" pitchFamily="2" charset="77"/>
                <a:cs typeface="Poppins" pitchFamily="2" charset="77"/>
              </a:rPr>
              <a:t> EBITDA </a:t>
            </a:r>
            <a:r>
              <a:rPr lang="es-CL" altLang="es-CL" sz="1400" b="1" err="1">
                <a:solidFill>
                  <a:schemeClr val="tx2"/>
                </a:solidFill>
                <a:latin typeface="Poppins" pitchFamily="2" charset="77"/>
                <a:cs typeface="Poppins" pitchFamily="2" charset="77"/>
              </a:rPr>
              <a:t>Margin</a:t>
            </a:r>
            <a:endParaRPr lang="es-CL" altLang="es-CL" sz="1400" b="1">
              <a:solidFill>
                <a:schemeClr val="tx2"/>
              </a:solidFill>
              <a:latin typeface="Poppins" pitchFamily="2" charset="77"/>
              <a:cs typeface="Poppins" pitchFamily="2" charset="77"/>
            </a:endParaRPr>
          </a:p>
          <a:p>
            <a:pPr algn="ctr" eaLnBrk="0" fontAlgn="base" hangingPunct="0">
              <a:spcBef>
                <a:spcPct val="0"/>
              </a:spcBef>
              <a:spcAft>
                <a:spcPts val="600"/>
              </a:spcAft>
            </a:pPr>
            <a:r>
              <a:rPr lang="es-CL" altLang="es-CL" sz="2400" b="1">
                <a:solidFill>
                  <a:schemeClr val="tx2"/>
                </a:solidFill>
                <a:latin typeface="Poppins" pitchFamily="2" charset="77"/>
                <a:cs typeface="Poppins" pitchFamily="2" charset="77"/>
              </a:rPr>
              <a:t>+1,321 </a:t>
            </a:r>
            <a:r>
              <a:rPr lang="es-CL" altLang="es-CL" sz="1200" b="1">
                <a:solidFill>
                  <a:schemeClr val="tx2"/>
                </a:solidFill>
                <a:latin typeface="Poppins" pitchFamily="2" charset="77"/>
                <a:cs typeface="Poppins" pitchFamily="2" charset="77"/>
              </a:rPr>
              <a:t>bps </a:t>
            </a:r>
            <a:r>
              <a:rPr lang="es-CL" altLang="es-CL" sz="1200" b="1" err="1">
                <a:solidFill>
                  <a:schemeClr val="tx2"/>
                </a:solidFill>
                <a:latin typeface="Poppins" pitchFamily="2" charset="77"/>
                <a:cs typeface="Poppins" pitchFamily="2" charset="77"/>
              </a:rPr>
              <a:t>YoY</a:t>
            </a:r>
            <a:endParaRPr lang="es-CL" altLang="es-CL" sz="2400" b="1">
              <a:solidFill>
                <a:schemeClr val="tx2"/>
              </a:solidFill>
              <a:latin typeface="Poppins" pitchFamily="2" charset="77"/>
              <a:cs typeface="Poppins" pitchFamily="2" charset="77"/>
            </a:endParaRPr>
          </a:p>
        </p:txBody>
      </p:sp>
      <p:pic>
        <p:nvPicPr>
          <p:cNvPr id="2" name="Imagen 1">
            <a:extLst>
              <a:ext uri="{FF2B5EF4-FFF2-40B4-BE49-F238E27FC236}">
                <a16:creationId xmlns:a16="http://schemas.microsoft.com/office/drawing/2014/main" id="{D92E8953-0688-E227-1724-44D3E915F246}"/>
              </a:ext>
            </a:extLst>
          </p:cNvPr>
          <p:cNvPicPr>
            <a:picLocks noChangeAspect="1"/>
          </p:cNvPicPr>
          <p:nvPr/>
        </p:nvPicPr>
        <p:blipFill>
          <a:blip r:embed="rId2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0658074" y="1379773"/>
            <a:ext cx="580223" cy="563157"/>
          </a:xfrm>
          <a:prstGeom prst="rect">
            <a:avLst/>
          </a:prstGeom>
        </p:spPr>
      </p:pic>
      <p:sp>
        <p:nvSpPr>
          <p:cNvPr id="3" name="Cuadro de texto 334">
            <a:extLst>
              <a:ext uri="{FF2B5EF4-FFF2-40B4-BE49-F238E27FC236}">
                <a16:creationId xmlns:a16="http://schemas.microsoft.com/office/drawing/2014/main" id="{EB4552C0-83C9-32EA-78A5-BF5E7A4CA747}"/>
              </a:ext>
            </a:extLst>
          </p:cNvPr>
          <p:cNvSpPr txBox="1">
            <a:spLocks noChangeArrowheads="1"/>
          </p:cNvSpPr>
          <p:nvPr/>
        </p:nvSpPr>
        <p:spPr bwMode="auto">
          <a:xfrm>
            <a:off x="9997423" y="2057379"/>
            <a:ext cx="2017781" cy="76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ts val="600"/>
              </a:spcAft>
            </a:pPr>
            <a:r>
              <a:rPr lang="es-CL" altLang="es-CL" sz="1400" b="1" err="1">
                <a:solidFill>
                  <a:schemeClr val="tx2"/>
                </a:solidFill>
                <a:latin typeface="Poppins" pitchFamily="2" charset="77"/>
                <a:cs typeface="Poppins" pitchFamily="2" charset="77"/>
              </a:rPr>
              <a:t>Revenue</a:t>
            </a:r>
            <a:endParaRPr lang="es-CL" altLang="es-CL" sz="1400" b="1" baseline="30000">
              <a:solidFill>
                <a:schemeClr val="tx2"/>
              </a:solidFill>
              <a:latin typeface="Poppins" pitchFamily="2" charset="77"/>
              <a:cs typeface="Poppins" pitchFamily="2" charset="77"/>
            </a:endParaRPr>
          </a:p>
          <a:p>
            <a:pPr algn="ctr" eaLnBrk="0" fontAlgn="base" hangingPunct="0">
              <a:spcBef>
                <a:spcPct val="0"/>
              </a:spcBef>
              <a:spcAft>
                <a:spcPts val="600"/>
              </a:spcAft>
            </a:pPr>
            <a:r>
              <a:rPr lang="es-CL" altLang="es-CL" sz="2400" b="1">
                <a:solidFill>
                  <a:schemeClr val="tx2"/>
                </a:solidFill>
                <a:latin typeface="Poppins" pitchFamily="2" charset="77"/>
                <a:cs typeface="Poppins" pitchFamily="2" charset="77"/>
              </a:rPr>
              <a:t>+2.3% </a:t>
            </a:r>
            <a:r>
              <a:rPr lang="es-CL" altLang="es-CL" sz="1200" b="1" err="1">
                <a:solidFill>
                  <a:schemeClr val="tx2"/>
                </a:solidFill>
                <a:latin typeface="Poppins" pitchFamily="2" charset="77"/>
                <a:cs typeface="Poppins" pitchFamily="2" charset="77"/>
              </a:rPr>
              <a:t>YoY</a:t>
            </a:r>
            <a:r>
              <a:rPr lang="es-CL" altLang="es-CL" sz="1200" b="1">
                <a:solidFill>
                  <a:schemeClr val="tx2"/>
                </a:solidFill>
                <a:latin typeface="Poppins" pitchFamily="2" charset="77"/>
                <a:cs typeface="Poppins" pitchFamily="2" charset="77"/>
              </a:rPr>
              <a:t> in CLP</a:t>
            </a:r>
            <a:endParaRPr lang="es-CL" altLang="es-CL" sz="2400" b="1">
              <a:solidFill>
                <a:schemeClr val="tx2"/>
              </a:solidFill>
              <a:latin typeface="Poppins" pitchFamily="2" charset="77"/>
              <a:cs typeface="Poppins" pitchFamily="2" charset="77"/>
            </a:endParaRPr>
          </a:p>
        </p:txBody>
      </p:sp>
      <p:graphicFrame>
        <p:nvGraphicFramePr>
          <p:cNvPr id="25" name="Chart 3">
            <a:extLst>
              <a:ext uri="{FF2B5EF4-FFF2-40B4-BE49-F238E27FC236}">
                <a16:creationId xmlns:a16="http://schemas.microsoft.com/office/drawing/2014/main" id="{F9B793FC-4E22-755F-F1AC-A71719B6655A}"/>
              </a:ext>
            </a:extLst>
          </p:cNvPr>
          <p:cNvGraphicFramePr/>
          <p:nvPr>
            <p:custDataLst>
              <p:tags r:id="rId2"/>
            </p:custDataLst>
            <p:extLst>
              <p:ext uri="{D42A27DB-BD31-4B8C-83A1-F6EECF244321}">
                <p14:modId xmlns:p14="http://schemas.microsoft.com/office/powerpoint/2010/main" val="3552969726"/>
              </p:ext>
            </p:extLst>
          </p:nvPr>
        </p:nvGraphicFramePr>
        <p:xfrm>
          <a:off x="5410200" y="1909763"/>
          <a:ext cx="4530725" cy="1403350"/>
        </p:xfrm>
        <a:graphic>
          <a:graphicData uri="http://schemas.openxmlformats.org/drawingml/2006/chart">
            <c:chart xmlns:c="http://schemas.openxmlformats.org/drawingml/2006/chart" xmlns:r="http://schemas.openxmlformats.org/officeDocument/2006/relationships" r:id="rId30"/>
          </a:graphicData>
        </a:graphic>
      </p:graphicFrame>
      <p:sp>
        <p:nvSpPr>
          <p:cNvPr id="4" name="Marcador de texto 2">
            <a:extLst>
              <a:ext uri="{FF2B5EF4-FFF2-40B4-BE49-F238E27FC236}">
                <a16:creationId xmlns:a16="http://schemas.microsoft.com/office/drawing/2014/main" id="{7E48156E-6A95-A64B-8520-CD11DA6C5EEF}"/>
              </a:ext>
            </a:extLst>
          </p:cNvPr>
          <p:cNvSpPr>
            <a:spLocks noGrp="1"/>
          </p:cNvSpPr>
          <p:nvPr>
            <p:custDataLst>
              <p:tags r:id="rId3"/>
            </p:custDataLst>
          </p:nvPr>
        </p:nvSpPr>
        <p:spPr bwMode="auto">
          <a:xfrm>
            <a:off x="5835650" y="3289300"/>
            <a:ext cx="403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CL" altLang="en-US" sz="1400">
                <a:effectLst/>
              </a:rPr>
              <a:t>1Q24</a:t>
            </a:r>
            <a:endParaRPr lang="es-CL" sz="1400"/>
          </a:p>
        </p:txBody>
      </p:sp>
      <p:sp>
        <p:nvSpPr>
          <p:cNvPr id="14" name="Marcador de texto 2">
            <a:extLst>
              <a:ext uri="{FF2B5EF4-FFF2-40B4-BE49-F238E27FC236}">
                <a16:creationId xmlns:a16="http://schemas.microsoft.com/office/drawing/2014/main" id="{7E48156E-6A95-A64B-8520-CD11DA6C5EEF}"/>
              </a:ext>
            </a:extLst>
          </p:cNvPr>
          <p:cNvSpPr>
            <a:spLocks noGrp="1"/>
          </p:cNvSpPr>
          <p:nvPr>
            <p:custDataLst>
              <p:tags r:id="rId4"/>
            </p:custDataLst>
          </p:nvPr>
        </p:nvSpPr>
        <p:spPr bwMode="auto">
          <a:xfrm>
            <a:off x="6927850" y="3289300"/>
            <a:ext cx="403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CL" altLang="en-US" sz="1400">
                <a:effectLst/>
              </a:rPr>
              <a:t>1Q25</a:t>
            </a:r>
            <a:endParaRPr lang="es-CL" sz="1400"/>
          </a:p>
        </p:txBody>
      </p:sp>
      <p:sp>
        <p:nvSpPr>
          <p:cNvPr id="20" name="Marcador de texto 2">
            <a:extLst>
              <a:ext uri="{FF2B5EF4-FFF2-40B4-BE49-F238E27FC236}">
                <a16:creationId xmlns:a16="http://schemas.microsoft.com/office/drawing/2014/main" id="{7E48156E-6A95-A64B-8520-CD11DA6C5EEF}"/>
              </a:ext>
            </a:extLst>
          </p:cNvPr>
          <p:cNvSpPr>
            <a:spLocks noGrp="1"/>
          </p:cNvSpPr>
          <p:nvPr>
            <p:custDataLst>
              <p:tags r:id="rId5"/>
            </p:custDataLst>
          </p:nvPr>
        </p:nvSpPr>
        <p:spPr bwMode="auto">
          <a:xfrm>
            <a:off x="8002588" y="3289300"/>
            <a:ext cx="4365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8FE682E-39D6-412B-92B5-245AB5DFE449}" type="datetime'''''''''''3''M''''''''''''''''''''''''''''2''''4'">
              <a:rPr lang="es-CL" altLang="en-US" sz="1400" smtClean="0">
                <a:effectLst/>
              </a:rPr>
              <a:pPr marL="0" indent="0" algn="ctr">
                <a:spcBef>
                  <a:spcPct val="0"/>
                </a:spcBef>
                <a:spcAft>
                  <a:spcPct val="0"/>
                </a:spcAft>
                <a:buNone/>
              </a:pPr>
              <a:t>3M24</a:t>
            </a:fld>
            <a:endParaRPr lang="es-CL" sz="1400"/>
          </a:p>
        </p:txBody>
      </p:sp>
      <p:sp>
        <p:nvSpPr>
          <p:cNvPr id="21" name="Marcador de texto 2">
            <a:extLst>
              <a:ext uri="{FF2B5EF4-FFF2-40B4-BE49-F238E27FC236}">
                <a16:creationId xmlns:a16="http://schemas.microsoft.com/office/drawing/2014/main" id="{7E48156E-6A95-A64B-8520-CD11DA6C5EEF}"/>
              </a:ext>
            </a:extLst>
          </p:cNvPr>
          <p:cNvSpPr>
            <a:spLocks noGrp="1"/>
          </p:cNvSpPr>
          <p:nvPr>
            <p:custDataLst>
              <p:tags r:id="rId6"/>
            </p:custDataLst>
          </p:nvPr>
        </p:nvSpPr>
        <p:spPr bwMode="auto">
          <a:xfrm>
            <a:off x="9094788" y="3289300"/>
            <a:ext cx="4365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B141BD8-4107-4D41-9076-534396DC259C}" type="datetime'''3M''''''''''''''''''''''''''''2''5'''''''">
              <a:rPr lang="es-CL" altLang="en-US" sz="1400" smtClean="0">
                <a:effectLst/>
              </a:rPr>
              <a:pPr marL="0" indent="0" algn="ctr">
                <a:spcBef>
                  <a:spcPct val="0"/>
                </a:spcBef>
                <a:spcAft>
                  <a:spcPct val="0"/>
                </a:spcAft>
                <a:buNone/>
              </a:pPr>
              <a:t>3M25</a:t>
            </a:fld>
            <a:endParaRPr lang="es-CL" sz="1400"/>
          </a:p>
        </p:txBody>
      </p:sp>
      <p:sp>
        <p:nvSpPr>
          <p:cNvPr id="22" name="Marcador de texto 2">
            <a:extLst>
              <a:ext uri="{FF2B5EF4-FFF2-40B4-BE49-F238E27FC236}">
                <a16:creationId xmlns:a16="http://schemas.microsoft.com/office/drawing/2014/main" id="{7E48156E-6A95-A64B-8520-CD11DA6C5EEF}"/>
              </a:ext>
            </a:extLst>
          </p:cNvPr>
          <p:cNvSpPr>
            <a:spLocks noGrp="1"/>
          </p:cNvSpPr>
          <p:nvPr>
            <p:custDataLst>
              <p:tags r:id="rId7"/>
            </p:custDataLst>
          </p:nvPr>
        </p:nvSpPr>
        <p:spPr bwMode="auto">
          <a:xfrm>
            <a:off x="4954587" y="2530475"/>
            <a:ext cx="6365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s-CL" altLang="en-US" sz="1400" b="1" err="1">
                <a:effectLst/>
              </a:rPr>
              <a:t>Revenue</a:t>
            </a:r>
            <a:endParaRPr lang="es-CL" sz="1400" b="1"/>
          </a:p>
        </p:txBody>
      </p:sp>
      <p:sp>
        <p:nvSpPr>
          <p:cNvPr id="16" name="Marcador de texto 2">
            <a:extLst>
              <a:ext uri="{FF2B5EF4-FFF2-40B4-BE49-F238E27FC236}">
                <a16:creationId xmlns:a16="http://schemas.microsoft.com/office/drawing/2014/main" id="{7E48156E-6A95-A64B-8520-CD11DA6C5EEF}"/>
              </a:ext>
            </a:extLst>
          </p:cNvPr>
          <p:cNvSpPr>
            <a:spLocks noGrp="1"/>
          </p:cNvSpPr>
          <p:nvPr>
            <p:custDataLst>
              <p:tags r:id="rId8"/>
            </p:custDataLst>
          </p:nvPr>
        </p:nvSpPr>
        <p:spPr bwMode="gray">
          <a:xfrm>
            <a:off x="5808663" y="1803400"/>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DAA175C-2E08-41CE-BAF6-C2F94300FDE8}" type="datetime'''''''1'''',''''''''''''9''''''''0''''''''''5'''''''''''">
              <a:rPr lang="es-CL" altLang="en-US" sz="1400" smtClean="0">
                <a:effectLst/>
              </a:rPr>
              <a:pPr marL="0" indent="0" algn="ctr">
                <a:spcBef>
                  <a:spcPct val="0"/>
                </a:spcBef>
                <a:spcAft>
                  <a:spcPct val="0"/>
                </a:spcAft>
                <a:buNone/>
              </a:pPr>
              <a:t>1,905</a:t>
            </a:fld>
            <a:endParaRPr lang="es-CL" sz="1400"/>
          </a:p>
        </p:txBody>
      </p:sp>
      <p:sp>
        <p:nvSpPr>
          <p:cNvPr id="19" name="Marcador de texto 2">
            <a:extLst>
              <a:ext uri="{FF2B5EF4-FFF2-40B4-BE49-F238E27FC236}">
                <a16:creationId xmlns:a16="http://schemas.microsoft.com/office/drawing/2014/main" id="{7E48156E-6A95-A64B-8520-CD11DA6C5EEF}"/>
              </a:ext>
            </a:extLst>
          </p:cNvPr>
          <p:cNvSpPr>
            <a:spLocks noGrp="1"/>
          </p:cNvSpPr>
          <p:nvPr>
            <p:custDataLst>
              <p:tags r:id="rId9"/>
            </p:custDataLst>
          </p:nvPr>
        </p:nvSpPr>
        <p:spPr bwMode="gray">
          <a:xfrm>
            <a:off x="6900863" y="1774825"/>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71D1100-FA90-4CE7-8A86-C3C2EA39A4B9}" type="datetime'''''''''''''''''''1'''''',''9''''''4''''8'''''''''''''''''''''">
              <a:rPr lang="es-CL" altLang="en-US" sz="1400" smtClean="0">
                <a:effectLst/>
              </a:rPr>
              <a:pPr marL="0" indent="0" algn="ctr">
                <a:spcBef>
                  <a:spcPct val="0"/>
                </a:spcBef>
                <a:spcAft>
                  <a:spcPct val="0"/>
                </a:spcAft>
                <a:buNone/>
              </a:pPr>
              <a:t>1,948</a:t>
            </a:fld>
            <a:endParaRPr lang="es-CL" sz="1400"/>
          </a:p>
        </p:txBody>
      </p:sp>
      <p:sp>
        <p:nvSpPr>
          <p:cNvPr id="23" name="Marcador de texto 2">
            <a:extLst>
              <a:ext uri="{FF2B5EF4-FFF2-40B4-BE49-F238E27FC236}">
                <a16:creationId xmlns:a16="http://schemas.microsoft.com/office/drawing/2014/main" id="{7E48156E-6A95-A64B-8520-CD11DA6C5EEF}"/>
              </a:ext>
            </a:extLst>
          </p:cNvPr>
          <p:cNvSpPr>
            <a:spLocks noGrp="1"/>
          </p:cNvSpPr>
          <p:nvPr>
            <p:custDataLst>
              <p:tags r:id="rId10"/>
            </p:custDataLst>
          </p:nvPr>
        </p:nvSpPr>
        <p:spPr bwMode="gray">
          <a:xfrm>
            <a:off x="7991475" y="1803400"/>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E1506D-2ED2-4E16-8E37-271A0C351489}" type="datetime'''''''''''''''1'',''''''''9''05'''''''''''''''''''''">
              <a:rPr lang="es-CL" altLang="en-US" sz="1400" smtClean="0">
                <a:effectLst/>
              </a:rPr>
              <a:pPr marL="0" indent="0" algn="ctr">
                <a:spcBef>
                  <a:spcPct val="0"/>
                </a:spcBef>
                <a:spcAft>
                  <a:spcPct val="0"/>
                </a:spcAft>
                <a:buNone/>
              </a:pPr>
              <a:t>1,905</a:t>
            </a:fld>
            <a:endParaRPr lang="es-CL" sz="1400"/>
          </a:p>
        </p:txBody>
      </p:sp>
      <p:sp>
        <p:nvSpPr>
          <p:cNvPr id="24" name="Marcador de texto 2">
            <a:extLst>
              <a:ext uri="{FF2B5EF4-FFF2-40B4-BE49-F238E27FC236}">
                <a16:creationId xmlns:a16="http://schemas.microsoft.com/office/drawing/2014/main" id="{7E48156E-6A95-A64B-8520-CD11DA6C5EEF}"/>
              </a:ext>
            </a:extLst>
          </p:cNvPr>
          <p:cNvSpPr>
            <a:spLocks noGrp="1"/>
          </p:cNvSpPr>
          <p:nvPr>
            <p:custDataLst>
              <p:tags r:id="rId11"/>
            </p:custDataLst>
          </p:nvPr>
        </p:nvSpPr>
        <p:spPr bwMode="gray">
          <a:xfrm>
            <a:off x="9083675" y="1774825"/>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22A447D-A01C-41D6-8BCC-7451542342CD}" type="datetime'1,''''''''9''''''''''''4''''''8'''''''''''''''''''''''''''''">
              <a:rPr lang="es-CL" altLang="en-US" sz="1400" smtClean="0">
                <a:effectLst/>
              </a:rPr>
              <a:pPr marL="0" indent="0" algn="ctr">
                <a:spcBef>
                  <a:spcPct val="0"/>
                </a:spcBef>
                <a:spcAft>
                  <a:spcPct val="0"/>
                </a:spcAft>
                <a:buNone/>
              </a:pPr>
              <a:t>1,948</a:t>
            </a:fld>
            <a:endParaRPr lang="es-CL" sz="1400"/>
          </a:p>
        </p:txBody>
      </p:sp>
      <p:graphicFrame>
        <p:nvGraphicFramePr>
          <p:cNvPr id="35" name="Chart 3">
            <a:extLst>
              <a:ext uri="{FF2B5EF4-FFF2-40B4-BE49-F238E27FC236}">
                <a16:creationId xmlns:a16="http://schemas.microsoft.com/office/drawing/2014/main" id="{526094DE-46DA-3AA2-0685-E05035EA3DCF}"/>
              </a:ext>
            </a:extLst>
          </p:cNvPr>
          <p:cNvGraphicFramePr/>
          <p:nvPr>
            <p:custDataLst>
              <p:tags r:id="rId12"/>
            </p:custDataLst>
            <p:extLst>
              <p:ext uri="{D42A27DB-BD31-4B8C-83A1-F6EECF244321}">
                <p14:modId xmlns:p14="http://schemas.microsoft.com/office/powerpoint/2010/main" val="1419184213"/>
              </p:ext>
            </p:extLst>
          </p:nvPr>
        </p:nvGraphicFramePr>
        <p:xfrm>
          <a:off x="5410200" y="4240213"/>
          <a:ext cx="4530725" cy="1358900"/>
        </p:xfrm>
        <a:graphic>
          <a:graphicData uri="http://schemas.openxmlformats.org/drawingml/2006/chart">
            <c:chart xmlns:c="http://schemas.openxmlformats.org/drawingml/2006/chart" xmlns:r="http://schemas.openxmlformats.org/officeDocument/2006/relationships" r:id="rId31"/>
          </a:graphicData>
        </a:graphic>
      </p:graphicFrame>
      <p:sp>
        <p:nvSpPr>
          <p:cNvPr id="26" name="Marcador de texto 2">
            <a:extLst>
              <a:ext uri="{FF2B5EF4-FFF2-40B4-BE49-F238E27FC236}">
                <a16:creationId xmlns:a16="http://schemas.microsoft.com/office/drawing/2014/main" id="{7E48156E-6A95-A64B-8520-CD11DA6C5EEF}"/>
              </a:ext>
            </a:extLst>
          </p:cNvPr>
          <p:cNvSpPr>
            <a:spLocks noGrp="1"/>
          </p:cNvSpPr>
          <p:nvPr>
            <p:custDataLst>
              <p:tags r:id="rId13"/>
            </p:custDataLst>
          </p:nvPr>
        </p:nvSpPr>
        <p:spPr bwMode="auto">
          <a:xfrm>
            <a:off x="5835650" y="5575300"/>
            <a:ext cx="403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CL" altLang="en-US" sz="1400">
                <a:effectLst/>
              </a:rPr>
              <a:t>1Q24</a:t>
            </a:r>
            <a:endParaRPr lang="es-CL" sz="1400"/>
          </a:p>
        </p:txBody>
      </p:sp>
      <p:sp>
        <p:nvSpPr>
          <p:cNvPr id="28" name="Marcador de texto 2">
            <a:extLst>
              <a:ext uri="{FF2B5EF4-FFF2-40B4-BE49-F238E27FC236}">
                <a16:creationId xmlns:a16="http://schemas.microsoft.com/office/drawing/2014/main" id="{7E48156E-6A95-A64B-8520-CD11DA6C5EEF}"/>
              </a:ext>
            </a:extLst>
          </p:cNvPr>
          <p:cNvSpPr>
            <a:spLocks noGrp="1"/>
          </p:cNvSpPr>
          <p:nvPr>
            <p:custDataLst>
              <p:tags r:id="rId14"/>
            </p:custDataLst>
          </p:nvPr>
        </p:nvSpPr>
        <p:spPr bwMode="auto">
          <a:xfrm>
            <a:off x="6927850" y="5575300"/>
            <a:ext cx="403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CL" altLang="en-US" sz="1400">
                <a:effectLst/>
              </a:rPr>
              <a:t>1Q25</a:t>
            </a:r>
            <a:endParaRPr lang="es-CL" sz="1400"/>
          </a:p>
        </p:txBody>
      </p:sp>
      <p:sp>
        <p:nvSpPr>
          <p:cNvPr id="29" name="Marcador de texto 2">
            <a:extLst>
              <a:ext uri="{FF2B5EF4-FFF2-40B4-BE49-F238E27FC236}">
                <a16:creationId xmlns:a16="http://schemas.microsoft.com/office/drawing/2014/main" id="{7E48156E-6A95-A64B-8520-CD11DA6C5EEF}"/>
              </a:ext>
            </a:extLst>
          </p:cNvPr>
          <p:cNvSpPr>
            <a:spLocks noGrp="1"/>
          </p:cNvSpPr>
          <p:nvPr>
            <p:custDataLst>
              <p:tags r:id="rId15"/>
            </p:custDataLst>
          </p:nvPr>
        </p:nvSpPr>
        <p:spPr bwMode="auto">
          <a:xfrm>
            <a:off x="8002588" y="5575300"/>
            <a:ext cx="4365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1DBB791-62BA-4E7A-B135-46A50E61D53C}" type="datetime'''''''''''''''''''''''3''''''''''''''''M''''''''24'''''">
              <a:rPr lang="es-CL" altLang="en-US" sz="1400" smtClean="0">
                <a:effectLst/>
              </a:rPr>
              <a:pPr marL="0" indent="0" algn="ctr">
                <a:spcBef>
                  <a:spcPct val="0"/>
                </a:spcBef>
                <a:spcAft>
                  <a:spcPct val="0"/>
                </a:spcAft>
                <a:buNone/>
              </a:pPr>
              <a:t>3M24</a:t>
            </a:fld>
            <a:endParaRPr lang="es-CL" sz="1400"/>
          </a:p>
        </p:txBody>
      </p:sp>
      <p:sp>
        <p:nvSpPr>
          <p:cNvPr id="30" name="Marcador de texto 2">
            <a:extLst>
              <a:ext uri="{FF2B5EF4-FFF2-40B4-BE49-F238E27FC236}">
                <a16:creationId xmlns:a16="http://schemas.microsoft.com/office/drawing/2014/main" id="{7E48156E-6A95-A64B-8520-CD11DA6C5EEF}"/>
              </a:ext>
            </a:extLst>
          </p:cNvPr>
          <p:cNvSpPr>
            <a:spLocks noGrp="1"/>
          </p:cNvSpPr>
          <p:nvPr>
            <p:custDataLst>
              <p:tags r:id="rId16"/>
            </p:custDataLst>
          </p:nvPr>
        </p:nvSpPr>
        <p:spPr bwMode="auto">
          <a:xfrm>
            <a:off x="9094788" y="5575300"/>
            <a:ext cx="4365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91F9296-FD16-48BD-8F01-E630EF295D23}" type="datetime'''''''''''''''''''''''''3''''M2''''''''''5'">
              <a:rPr lang="es-CL" altLang="en-US" sz="1400" smtClean="0">
                <a:effectLst/>
              </a:rPr>
              <a:pPr marL="0" indent="0" algn="ctr">
                <a:spcBef>
                  <a:spcPct val="0"/>
                </a:spcBef>
                <a:spcAft>
                  <a:spcPct val="0"/>
                </a:spcAft>
                <a:buNone/>
              </a:pPr>
              <a:t>3M25</a:t>
            </a:fld>
            <a:endParaRPr lang="es-CL" sz="1400"/>
          </a:p>
        </p:txBody>
      </p:sp>
      <p:sp>
        <p:nvSpPr>
          <p:cNvPr id="31" name="Marcador de texto 2">
            <a:extLst>
              <a:ext uri="{FF2B5EF4-FFF2-40B4-BE49-F238E27FC236}">
                <a16:creationId xmlns:a16="http://schemas.microsoft.com/office/drawing/2014/main" id="{7E48156E-6A95-A64B-8520-CD11DA6C5EEF}"/>
              </a:ext>
            </a:extLst>
          </p:cNvPr>
          <p:cNvSpPr>
            <a:spLocks noGrp="1"/>
          </p:cNvSpPr>
          <p:nvPr>
            <p:custDataLst>
              <p:tags r:id="rId17"/>
            </p:custDataLst>
          </p:nvPr>
        </p:nvSpPr>
        <p:spPr bwMode="auto">
          <a:xfrm>
            <a:off x="4894263" y="4821238"/>
            <a:ext cx="696913"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s-CL" altLang="en-US" sz="1400" b="1" err="1"/>
              <a:t>Adjusted</a:t>
            </a:r>
            <a:r>
              <a:rPr lang="es-CL" altLang="en-US" sz="1400"/>
              <a:t> </a:t>
            </a:r>
            <a:br>
              <a:rPr lang="es-CL" altLang="en-US" sz="1400"/>
            </a:br>
            <a:r>
              <a:rPr lang="es-CL" altLang="en-US" sz="1400" b="1"/>
              <a:t>EBITDA</a:t>
            </a:r>
            <a:endParaRPr lang="es-CL" sz="1400" b="1"/>
          </a:p>
        </p:txBody>
      </p:sp>
      <p:sp>
        <p:nvSpPr>
          <p:cNvPr id="27" name="Marcador de texto 2">
            <a:extLst>
              <a:ext uri="{FF2B5EF4-FFF2-40B4-BE49-F238E27FC236}">
                <a16:creationId xmlns:a16="http://schemas.microsoft.com/office/drawing/2014/main" id="{7E48156E-6A95-A64B-8520-CD11DA6C5EEF}"/>
              </a:ext>
            </a:extLst>
          </p:cNvPr>
          <p:cNvSpPr>
            <a:spLocks noGrp="1"/>
          </p:cNvSpPr>
          <p:nvPr>
            <p:custDataLst>
              <p:tags r:id="rId18"/>
            </p:custDataLst>
          </p:nvPr>
        </p:nvSpPr>
        <p:spPr bwMode="gray">
          <a:xfrm>
            <a:off x="5808663" y="4292600"/>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85ABC25-8A76-45CE-8BAE-F63129C1642A}" type="datetime'1'''',''''''6''''''''''''''''''''''''''''''''''0''4'">
              <a:rPr lang="es-CL" altLang="en-US" sz="1400" smtClean="0">
                <a:effectLst/>
              </a:rPr>
              <a:pPr marL="0" indent="0" algn="ctr">
                <a:spcBef>
                  <a:spcPct val="0"/>
                </a:spcBef>
                <a:spcAft>
                  <a:spcPct val="0"/>
                </a:spcAft>
                <a:buNone/>
              </a:pPr>
              <a:t>1,604</a:t>
            </a:fld>
            <a:endParaRPr lang="es-CL" sz="1400"/>
          </a:p>
        </p:txBody>
      </p:sp>
      <p:sp>
        <p:nvSpPr>
          <p:cNvPr id="32" name="Marcador de texto 2">
            <a:extLst>
              <a:ext uri="{FF2B5EF4-FFF2-40B4-BE49-F238E27FC236}">
                <a16:creationId xmlns:a16="http://schemas.microsoft.com/office/drawing/2014/main" id="{7E48156E-6A95-A64B-8520-CD11DA6C5EEF}"/>
              </a:ext>
            </a:extLst>
          </p:cNvPr>
          <p:cNvSpPr>
            <a:spLocks noGrp="1"/>
          </p:cNvSpPr>
          <p:nvPr>
            <p:custDataLst>
              <p:tags r:id="rId19"/>
            </p:custDataLst>
          </p:nvPr>
        </p:nvSpPr>
        <p:spPr bwMode="gray">
          <a:xfrm>
            <a:off x="6900863" y="4105275"/>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7D0C3C0-71B5-4F2C-A235-6C50DBFFAE37}" type="datetime'''''''''1,''''''''9''''''''''''''''''0''''''''''''''3'">
              <a:rPr lang="es-CL" altLang="en-US" sz="1400" smtClean="0">
                <a:effectLst/>
              </a:rPr>
              <a:pPr marL="0" indent="0" algn="ctr">
                <a:spcBef>
                  <a:spcPct val="0"/>
                </a:spcBef>
                <a:spcAft>
                  <a:spcPct val="0"/>
                </a:spcAft>
                <a:buNone/>
              </a:pPr>
              <a:t>1,903</a:t>
            </a:fld>
            <a:endParaRPr lang="es-CL" sz="1400"/>
          </a:p>
        </p:txBody>
      </p:sp>
      <p:sp>
        <p:nvSpPr>
          <p:cNvPr id="33" name="Marcador de texto 2">
            <a:extLst>
              <a:ext uri="{FF2B5EF4-FFF2-40B4-BE49-F238E27FC236}">
                <a16:creationId xmlns:a16="http://schemas.microsoft.com/office/drawing/2014/main" id="{7E48156E-6A95-A64B-8520-CD11DA6C5EEF}"/>
              </a:ext>
            </a:extLst>
          </p:cNvPr>
          <p:cNvSpPr>
            <a:spLocks noGrp="1"/>
          </p:cNvSpPr>
          <p:nvPr>
            <p:custDataLst>
              <p:tags r:id="rId20"/>
            </p:custDataLst>
          </p:nvPr>
        </p:nvSpPr>
        <p:spPr bwMode="gray">
          <a:xfrm>
            <a:off x="7991475" y="4292600"/>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99331CD-7975-4F6A-9D10-D819E4373B25}" type="datetime'''''''''''''''''1'',6''''''''04'''''''''''''''''''''''''''''''">
              <a:rPr lang="es-CL" altLang="en-US" sz="1400" smtClean="0">
                <a:effectLst/>
              </a:rPr>
              <a:pPr marL="0" indent="0" algn="ctr">
                <a:spcBef>
                  <a:spcPct val="0"/>
                </a:spcBef>
                <a:spcAft>
                  <a:spcPct val="0"/>
                </a:spcAft>
                <a:buNone/>
              </a:pPr>
              <a:t>1,604</a:t>
            </a:fld>
            <a:endParaRPr lang="es-CL" sz="1400"/>
          </a:p>
        </p:txBody>
      </p:sp>
      <p:sp>
        <p:nvSpPr>
          <p:cNvPr id="34" name="Marcador de texto 2">
            <a:extLst>
              <a:ext uri="{FF2B5EF4-FFF2-40B4-BE49-F238E27FC236}">
                <a16:creationId xmlns:a16="http://schemas.microsoft.com/office/drawing/2014/main" id="{7E48156E-6A95-A64B-8520-CD11DA6C5EEF}"/>
              </a:ext>
            </a:extLst>
          </p:cNvPr>
          <p:cNvSpPr>
            <a:spLocks noGrp="1"/>
          </p:cNvSpPr>
          <p:nvPr>
            <p:custDataLst>
              <p:tags r:id="rId21"/>
            </p:custDataLst>
          </p:nvPr>
        </p:nvSpPr>
        <p:spPr bwMode="gray">
          <a:xfrm>
            <a:off x="9083675" y="4105275"/>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2240F9F-F249-413F-9353-B8E6511ADD63}" type="datetime'1'''''''''''''''''''''',''''''''''''''''''''''''9''0''''3'''''">
              <a:rPr lang="es-CL" altLang="en-US" sz="1400" smtClean="0">
                <a:effectLst/>
              </a:rPr>
              <a:pPr marL="0" indent="0" algn="ctr">
                <a:spcBef>
                  <a:spcPct val="0"/>
                </a:spcBef>
                <a:spcAft>
                  <a:spcPct val="0"/>
                </a:spcAft>
                <a:buNone/>
              </a:pPr>
              <a:t>1,903</a:t>
            </a:fld>
            <a:endParaRPr lang="es-CL" sz="1400"/>
          </a:p>
        </p:txBody>
      </p:sp>
      <p:sp>
        <p:nvSpPr>
          <p:cNvPr id="5" name="CuadroTexto 4">
            <a:extLst>
              <a:ext uri="{FF2B5EF4-FFF2-40B4-BE49-F238E27FC236}">
                <a16:creationId xmlns:a16="http://schemas.microsoft.com/office/drawing/2014/main" id="{61DC3275-B8D9-B5F5-040F-B12BE9DA1B5D}"/>
              </a:ext>
            </a:extLst>
          </p:cNvPr>
          <p:cNvSpPr txBox="1"/>
          <p:nvPr/>
        </p:nvSpPr>
        <p:spPr>
          <a:xfrm>
            <a:off x="491796" y="207049"/>
            <a:ext cx="9693604" cy="553998"/>
          </a:xfrm>
          <a:prstGeom prst="rect">
            <a:avLst/>
          </a:prstGeom>
          <a:noFill/>
        </p:spPr>
        <p:txBody>
          <a:bodyPr wrap="square" rtlCol="0">
            <a:spAutoFit/>
          </a:bodyPr>
          <a:lstStyle/>
          <a:p>
            <a:r>
              <a:rPr lang="es-CL" sz="3000" b="1">
                <a:solidFill>
                  <a:schemeClr val="accent3"/>
                </a:solidFill>
                <a:latin typeface="Poppins" pitchFamily="2" charset="77"/>
                <a:cs typeface="Poppins" pitchFamily="2" charset="77"/>
              </a:rPr>
              <a:t>2.5</a:t>
            </a:r>
            <a:r>
              <a:rPr lang="es-CL" sz="3000" b="1">
                <a:solidFill>
                  <a:schemeClr val="tx2"/>
                </a:solidFill>
                <a:latin typeface="Poppins" pitchFamily="2" charset="77"/>
                <a:cs typeface="Poppins" pitchFamily="2" charset="77"/>
              </a:rPr>
              <a:t> </a:t>
            </a:r>
            <a:r>
              <a:rPr lang="en-US" sz="3000" b="1">
                <a:solidFill>
                  <a:schemeClr val="tx2"/>
                </a:solidFill>
                <a:latin typeface="Poppins" pitchFamily="2" charset="77"/>
                <a:cs typeface="Poppins" pitchFamily="2" charset="77"/>
              </a:rPr>
              <a:t>Peru – EBITDA Margin Expansion of 1,321 bps</a:t>
            </a:r>
            <a:endParaRPr lang="es-CL" sz="3000" b="1">
              <a:solidFill>
                <a:schemeClr val="tx2"/>
              </a:solidFill>
              <a:latin typeface="Poppins" pitchFamily="2" charset="77"/>
              <a:cs typeface="Poppins" pitchFamily="2" charset="77"/>
            </a:endParaRPr>
          </a:p>
        </p:txBody>
      </p:sp>
      <p:sp>
        <p:nvSpPr>
          <p:cNvPr id="12" name="Cuadro de texto 334">
            <a:extLst>
              <a:ext uri="{FF2B5EF4-FFF2-40B4-BE49-F238E27FC236}">
                <a16:creationId xmlns:a16="http://schemas.microsoft.com/office/drawing/2014/main" id="{CD0EDC96-5A83-A27F-AAA7-252E6792803C}"/>
              </a:ext>
            </a:extLst>
          </p:cNvPr>
          <p:cNvSpPr txBox="1">
            <a:spLocks noChangeArrowheads="1"/>
          </p:cNvSpPr>
          <p:nvPr/>
        </p:nvSpPr>
        <p:spPr bwMode="auto">
          <a:xfrm>
            <a:off x="9940925" y="2851315"/>
            <a:ext cx="2017781" cy="558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ts val="600"/>
              </a:spcAft>
            </a:pPr>
            <a:r>
              <a:rPr lang="es-CL" altLang="es-CL" sz="2400" b="1">
                <a:solidFill>
                  <a:schemeClr val="tx2"/>
                </a:solidFill>
                <a:latin typeface="Poppins" pitchFamily="2" charset="77"/>
                <a:cs typeface="Poppins" pitchFamily="2" charset="77"/>
              </a:rPr>
              <a:t>-1.0% </a:t>
            </a:r>
            <a:r>
              <a:rPr lang="es-CL" altLang="es-CL" sz="1200" b="1" err="1">
                <a:solidFill>
                  <a:schemeClr val="tx2"/>
                </a:solidFill>
                <a:latin typeface="Poppins" pitchFamily="2" charset="77"/>
                <a:cs typeface="Poppins" pitchFamily="2" charset="77"/>
              </a:rPr>
              <a:t>YoY</a:t>
            </a:r>
            <a:r>
              <a:rPr lang="es-CL" altLang="es-CL" sz="1200" b="1">
                <a:solidFill>
                  <a:schemeClr val="tx2"/>
                </a:solidFill>
                <a:latin typeface="Poppins" pitchFamily="2" charset="77"/>
                <a:cs typeface="Poppins" pitchFamily="2" charset="77"/>
              </a:rPr>
              <a:t> in PEN</a:t>
            </a:r>
            <a:endParaRPr lang="es-CL" altLang="es-CL" sz="2400" b="1">
              <a:solidFill>
                <a:schemeClr val="tx2"/>
              </a:solidFill>
              <a:latin typeface="Poppins" pitchFamily="2" charset="77"/>
              <a:cs typeface="Poppins" pitchFamily="2" charset="77"/>
            </a:endParaRPr>
          </a:p>
        </p:txBody>
      </p:sp>
      <p:sp>
        <p:nvSpPr>
          <p:cNvPr id="11" name="Marcador de número de diapositiva 1">
            <a:extLst>
              <a:ext uri="{FF2B5EF4-FFF2-40B4-BE49-F238E27FC236}">
                <a16:creationId xmlns:a16="http://schemas.microsoft.com/office/drawing/2014/main" id="{780FC4BF-6385-DFE0-D26D-0AB2300C9EC5}"/>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13</a:t>
            </a:fld>
            <a:endParaRPr lang="es-CL"/>
          </a:p>
        </p:txBody>
      </p:sp>
      <p:sp>
        <p:nvSpPr>
          <p:cNvPr id="13" name="Título 1">
            <a:extLst>
              <a:ext uri="{FF2B5EF4-FFF2-40B4-BE49-F238E27FC236}">
                <a16:creationId xmlns:a16="http://schemas.microsoft.com/office/drawing/2014/main" id="{E313F3D6-B10F-E38C-24E8-17B263275493}"/>
              </a:ext>
            </a:extLst>
          </p:cNvPr>
          <p:cNvSpPr txBox="1">
            <a:spLocks/>
          </p:cNvSpPr>
          <p:nvPr/>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tx2"/>
                </a:solidFill>
                <a:latin typeface="Poppins" pitchFamily="2" charset="77"/>
                <a:cs typeface="Poppins" pitchFamily="2" charset="77"/>
              </a:rPr>
              <a:t>Earning</a:t>
            </a:r>
            <a:r>
              <a:rPr lang="es-MX" sz="800" b="1">
                <a:solidFill>
                  <a:schemeClr val="tx2"/>
                </a:solidFill>
                <a:latin typeface="Poppins" pitchFamily="2" charset="77"/>
                <a:cs typeface="Poppins" pitchFamily="2" charset="77"/>
              </a:rPr>
              <a:t> </a:t>
            </a:r>
            <a:r>
              <a:rPr lang="es-MX" sz="800" b="1" err="1">
                <a:solidFill>
                  <a:schemeClr val="tx2"/>
                </a:solidFill>
                <a:latin typeface="Poppins" pitchFamily="2" charset="77"/>
                <a:cs typeface="Poppins" pitchFamily="2" charset="77"/>
              </a:rPr>
              <a:t>Presentation</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First</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Quarter</a:t>
            </a:r>
            <a:r>
              <a:rPr lang="es-MX" sz="800" b="0">
                <a:solidFill>
                  <a:schemeClr val="tx2"/>
                </a:solidFill>
                <a:latin typeface="Poppins" pitchFamily="2" charset="77"/>
                <a:cs typeface="Poppins" pitchFamily="2" charset="77"/>
              </a:rPr>
              <a:t> 2025</a:t>
            </a:r>
            <a:endParaRPr lang="es-CL" sz="800" b="0">
              <a:solidFill>
                <a:schemeClr val="tx2"/>
              </a:solidFill>
              <a:latin typeface="Poppins" pitchFamily="2" charset="77"/>
              <a:cs typeface="Poppins" pitchFamily="2" charset="77"/>
            </a:endParaRPr>
          </a:p>
        </p:txBody>
      </p:sp>
    </p:spTree>
    <p:extLst>
      <p:ext uri="{BB962C8B-B14F-4D97-AF65-F5344CB8AC3E}">
        <p14:creationId xmlns:p14="http://schemas.microsoft.com/office/powerpoint/2010/main" val="21250610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7FFA90-EAA8-6DCC-5CE5-C70B6B0838E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9519310-A3B5-0B0E-3D8D-BD12CB6BC32C}"/>
              </a:ext>
            </a:extLst>
          </p:cNvPr>
          <p:cNvGraphicFramePr>
            <a:graphicFrameLocks noChangeAspect="1"/>
          </p:cNvGraphicFramePr>
          <p:nvPr>
            <p:custDataLst>
              <p:tags r:id="rId1"/>
            </p:custDataLst>
            <p:extLst>
              <p:ext uri="{D42A27DB-BD31-4B8C-83A1-F6EECF244321}">
                <p14:modId xmlns:p14="http://schemas.microsoft.com/office/powerpoint/2010/main" val="285648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20" imgW="395" imgH="396" progId="TCLayout.ActiveDocument.1">
                  <p:embed/>
                </p:oleObj>
              </mc:Choice>
              <mc:Fallback>
                <p:oleObj name="Diapositiva de think-cell" r:id="rId20" imgW="395" imgH="396" progId="TCLayout.ActiveDocument.1">
                  <p:embed/>
                  <p:pic>
                    <p:nvPicPr>
                      <p:cNvPr id="7" name="think-cell data - do not delete" hidden="1">
                        <a:extLst>
                          <a:ext uri="{FF2B5EF4-FFF2-40B4-BE49-F238E27FC236}">
                            <a16:creationId xmlns:a16="http://schemas.microsoft.com/office/drawing/2014/main" id="{09519310-A3B5-0B0E-3D8D-BD12CB6BC32C}"/>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8" name="Forma libre 18">
            <a:extLst>
              <a:ext uri="{FF2B5EF4-FFF2-40B4-BE49-F238E27FC236}">
                <a16:creationId xmlns:a16="http://schemas.microsoft.com/office/drawing/2014/main" id="{8035E710-3277-BF78-97F7-CD5FEA0CFCFA}"/>
              </a:ext>
            </a:extLst>
          </p:cNvPr>
          <p:cNvSpPr/>
          <p:nvPr/>
        </p:nvSpPr>
        <p:spPr>
          <a:xfrm>
            <a:off x="7571874" y="2057379"/>
            <a:ext cx="4620126" cy="4809911"/>
          </a:xfrm>
          <a:custGeom>
            <a:avLst/>
            <a:gdLst>
              <a:gd name="connsiteX0" fmla="*/ 1251626 w 1251626"/>
              <a:gd name="connsiteY0" fmla="*/ 408562 h 1562911"/>
              <a:gd name="connsiteX1" fmla="*/ 1251626 w 1251626"/>
              <a:gd name="connsiteY1" fmla="*/ 1562911 h 1562911"/>
              <a:gd name="connsiteX2" fmla="*/ 233464 w 1251626"/>
              <a:gd name="connsiteY2" fmla="*/ 1562911 h 1562911"/>
              <a:gd name="connsiteX3" fmla="*/ 19455 w 1251626"/>
              <a:gd name="connsiteY3" fmla="*/ 1063558 h 1562911"/>
              <a:gd name="connsiteX4" fmla="*/ 265889 w 1251626"/>
              <a:gd name="connsiteY4" fmla="*/ 966281 h 1562911"/>
              <a:gd name="connsiteX5" fmla="*/ 0 w 1251626"/>
              <a:gd name="connsiteY5" fmla="*/ 700392 h 1562911"/>
              <a:gd name="connsiteX6" fmla="*/ 804153 w 1251626"/>
              <a:gd name="connsiteY6" fmla="*/ 0 h 1562911"/>
              <a:gd name="connsiteX7" fmla="*/ 1251626 w 1251626"/>
              <a:gd name="connsiteY7" fmla="*/ 408562 h 156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1626" h="1562911">
                <a:moveTo>
                  <a:pt x="1251626" y="408562"/>
                </a:moveTo>
                <a:lnTo>
                  <a:pt x="1251626" y="1562911"/>
                </a:lnTo>
                <a:lnTo>
                  <a:pt x="233464" y="1562911"/>
                </a:lnTo>
                <a:lnTo>
                  <a:pt x="19455" y="1063558"/>
                </a:lnTo>
                <a:lnTo>
                  <a:pt x="265889" y="966281"/>
                </a:lnTo>
                <a:lnTo>
                  <a:pt x="0" y="700392"/>
                </a:lnTo>
                <a:lnTo>
                  <a:pt x="804153" y="0"/>
                </a:lnTo>
                <a:lnTo>
                  <a:pt x="1251626" y="408562"/>
                </a:lnTo>
                <a:close/>
              </a:path>
            </a:pathLst>
          </a:custGeom>
          <a:solidFill>
            <a:srgbClr val="DA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solidFill>
                <a:srgbClr val="DAEBF2"/>
              </a:solidFill>
            </a:endParaRPr>
          </a:p>
        </p:txBody>
      </p:sp>
      <p:sp>
        <p:nvSpPr>
          <p:cNvPr id="10" name="Redondear rectángulo de una esquina 6">
            <a:extLst>
              <a:ext uri="{FF2B5EF4-FFF2-40B4-BE49-F238E27FC236}">
                <a16:creationId xmlns:a16="http://schemas.microsoft.com/office/drawing/2014/main" id="{6B39C234-0FBE-19E7-E5FD-1A45F762B09A}"/>
              </a:ext>
            </a:extLst>
          </p:cNvPr>
          <p:cNvSpPr/>
          <p:nvPr/>
        </p:nvSpPr>
        <p:spPr>
          <a:xfrm>
            <a:off x="425876" y="1228002"/>
            <a:ext cx="4371466" cy="4533035"/>
          </a:xfrm>
          <a:prstGeom prst="roundRect">
            <a:avLst>
              <a:gd name="adj" fmla="val 552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4" name="Imagen 3" descr="Imagen que contiene Icono&#10;&#10;Descripción generada automáticamente">
            <a:extLst>
              <a:ext uri="{FF2B5EF4-FFF2-40B4-BE49-F238E27FC236}">
                <a16:creationId xmlns:a16="http://schemas.microsoft.com/office/drawing/2014/main" id="{D37E305E-516B-5628-C6B2-87C04A81DA4F}"/>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95796" y="1455240"/>
            <a:ext cx="358592" cy="338018"/>
          </a:xfrm>
          <a:prstGeom prst="rect">
            <a:avLst/>
          </a:prstGeom>
        </p:spPr>
      </p:pic>
      <p:sp>
        <p:nvSpPr>
          <p:cNvPr id="73" name="CuadroTexto 72">
            <a:extLst>
              <a:ext uri="{FF2B5EF4-FFF2-40B4-BE49-F238E27FC236}">
                <a16:creationId xmlns:a16="http://schemas.microsoft.com/office/drawing/2014/main" id="{16197363-1139-32D2-8E00-C9717C1176F5}"/>
              </a:ext>
            </a:extLst>
          </p:cNvPr>
          <p:cNvSpPr txBox="1"/>
          <p:nvPr/>
        </p:nvSpPr>
        <p:spPr>
          <a:xfrm>
            <a:off x="709309" y="1991810"/>
            <a:ext cx="3980278" cy="2693045"/>
          </a:xfrm>
          <a:prstGeom prst="rect">
            <a:avLst/>
          </a:prstGeom>
          <a:noFill/>
        </p:spPr>
        <p:txBody>
          <a:bodyPr wrap="square" rtlCol="0">
            <a:spAutoFit/>
          </a:bodyPr>
          <a:lstStyle/>
          <a:p>
            <a:pPr algn="just"/>
            <a:r>
              <a:rPr lang="es-CL" sz="1600" b="1" err="1">
                <a:solidFill>
                  <a:schemeClr val="tx2"/>
                </a:solidFill>
                <a:latin typeface="Poppins" pitchFamily="2" charset="77"/>
                <a:cs typeface="Poppins" pitchFamily="2" charset="77"/>
              </a:rPr>
              <a:t>Revenues</a:t>
            </a:r>
            <a:endParaRPr lang="es-CL" sz="1600" b="1">
              <a:solidFill>
                <a:schemeClr val="tx2"/>
              </a:solidFill>
              <a:latin typeface="Poppins" pitchFamily="2" charset="77"/>
              <a:cs typeface="Poppins" pitchFamily="2" charset="77"/>
            </a:endParaRPr>
          </a:p>
          <a:p>
            <a:pPr algn="just">
              <a:spcBef>
                <a:spcPts val="600"/>
              </a:spcBef>
              <a:buClr>
                <a:srgbClr val="002060"/>
              </a:buClr>
            </a:pPr>
            <a:r>
              <a:rPr lang="en-US" sz="1300">
                <a:solidFill>
                  <a:schemeClr val="tx2"/>
                </a:solidFill>
                <a:latin typeface="Poppins" pitchFamily="2" charset="77"/>
                <a:cs typeface="Poppins" pitchFamily="2" charset="77"/>
              </a:rPr>
              <a:t>Improved performance at Cenco Altos del Prado and Cenco Santa Ana</a:t>
            </a:r>
          </a:p>
          <a:p>
            <a:pPr algn="just">
              <a:spcBef>
                <a:spcPts val="600"/>
              </a:spcBef>
              <a:buClr>
                <a:srgbClr val="002060"/>
              </a:buClr>
            </a:pPr>
            <a:r>
              <a:rPr lang="en-US" sz="1300">
                <a:solidFill>
                  <a:schemeClr val="tx2"/>
                </a:solidFill>
                <a:latin typeface="Poppins" pitchFamily="2" charset="77"/>
                <a:cs typeface="Poppins" pitchFamily="2" charset="77"/>
              </a:rPr>
              <a:t>Partially offset by impacts of remodeling and expansion works at </a:t>
            </a:r>
            <a:r>
              <a:rPr lang="en-US" sz="1300" err="1">
                <a:solidFill>
                  <a:schemeClr val="tx2"/>
                </a:solidFill>
                <a:latin typeface="Poppins" pitchFamily="2" charset="77"/>
                <a:cs typeface="Poppins" pitchFamily="2" charset="77"/>
              </a:rPr>
              <a:t>Cenco</a:t>
            </a:r>
            <a:r>
              <a:rPr lang="en-US" sz="1300">
                <a:solidFill>
                  <a:schemeClr val="tx2"/>
                </a:solidFill>
                <a:latin typeface="Poppins" pitchFamily="2" charset="77"/>
                <a:cs typeface="Poppins" pitchFamily="2" charset="77"/>
              </a:rPr>
              <a:t> </a:t>
            </a:r>
            <a:r>
              <a:rPr lang="en-US" sz="1300" err="1">
                <a:solidFill>
                  <a:schemeClr val="tx2"/>
                </a:solidFill>
                <a:latin typeface="Poppins" pitchFamily="2" charset="77"/>
                <a:cs typeface="Poppins" pitchFamily="2" charset="77"/>
              </a:rPr>
              <a:t>Limonar</a:t>
            </a:r>
            <a:endParaRPr lang="es-CL" sz="1300">
              <a:solidFill>
                <a:schemeClr val="tx2"/>
              </a:solidFill>
              <a:latin typeface="Poppins" pitchFamily="2" charset="77"/>
              <a:cs typeface="Poppins" pitchFamily="2" charset="77"/>
            </a:endParaRPr>
          </a:p>
          <a:p>
            <a:pPr algn="just">
              <a:spcBef>
                <a:spcPts val="600"/>
              </a:spcBef>
              <a:buClr>
                <a:srgbClr val="002060"/>
              </a:buClr>
            </a:pPr>
            <a:endParaRPr lang="es-CL" sz="1600" b="1">
              <a:solidFill>
                <a:schemeClr val="tx2"/>
              </a:solidFill>
              <a:latin typeface="Poppins" pitchFamily="2" charset="77"/>
              <a:cs typeface="Poppins" pitchFamily="2" charset="77"/>
            </a:endParaRPr>
          </a:p>
          <a:p>
            <a:pPr algn="just">
              <a:spcBef>
                <a:spcPts val="600"/>
              </a:spcBef>
              <a:buClr>
                <a:srgbClr val="002060"/>
              </a:buClr>
            </a:pPr>
            <a:r>
              <a:rPr lang="es-CL" sz="1600" b="1" err="1">
                <a:solidFill>
                  <a:schemeClr val="tx2"/>
                </a:solidFill>
                <a:latin typeface="Poppins" pitchFamily="2" charset="77"/>
                <a:cs typeface="Poppins" pitchFamily="2" charset="77"/>
              </a:rPr>
              <a:t>Adjusted</a:t>
            </a:r>
            <a:r>
              <a:rPr lang="es-CL" sz="1600" b="1">
                <a:solidFill>
                  <a:schemeClr val="tx2"/>
                </a:solidFill>
                <a:latin typeface="Poppins" pitchFamily="2" charset="77"/>
                <a:cs typeface="Poppins" pitchFamily="2" charset="77"/>
              </a:rPr>
              <a:t> EBITDA</a:t>
            </a:r>
            <a:endParaRPr lang="es-CL" sz="1300">
              <a:solidFill>
                <a:schemeClr val="tx2"/>
              </a:solidFill>
              <a:latin typeface="Poppins" pitchFamily="2" charset="77"/>
              <a:cs typeface="Poppins" pitchFamily="2" charset="77"/>
            </a:endParaRPr>
          </a:p>
          <a:p>
            <a:pPr algn="just">
              <a:spcBef>
                <a:spcPts val="600"/>
              </a:spcBef>
              <a:buClr>
                <a:srgbClr val="002060"/>
              </a:buClr>
            </a:pPr>
            <a:r>
              <a:rPr lang="en-US" sz="1300">
                <a:solidFill>
                  <a:schemeClr val="tx2"/>
                </a:solidFill>
                <a:latin typeface="Poppins" pitchFamily="2" charset="77"/>
                <a:cs typeface="Poppins" pitchFamily="2" charset="77"/>
              </a:rPr>
              <a:t>Increase in property tax expenses</a:t>
            </a:r>
          </a:p>
          <a:p>
            <a:pPr algn="just">
              <a:spcBef>
                <a:spcPts val="600"/>
              </a:spcBef>
              <a:buClr>
                <a:srgbClr val="002060"/>
              </a:buClr>
            </a:pPr>
            <a:r>
              <a:rPr lang="en-US" sz="1300">
                <a:solidFill>
                  <a:schemeClr val="tx2"/>
                </a:solidFill>
                <a:latin typeface="Poppins" pitchFamily="2" charset="77"/>
                <a:cs typeface="Poppins" pitchFamily="2" charset="77"/>
              </a:rPr>
              <a:t>Higher personnel expenses due to the strengthening of organizational structures</a:t>
            </a:r>
            <a:endParaRPr lang="es-CL" sz="1300">
              <a:solidFill>
                <a:schemeClr val="tx2"/>
              </a:solidFill>
              <a:latin typeface="Poppins" pitchFamily="2" charset="77"/>
              <a:cs typeface="Poppins" pitchFamily="2" charset="77"/>
            </a:endParaRPr>
          </a:p>
        </p:txBody>
      </p:sp>
      <p:pic>
        <p:nvPicPr>
          <p:cNvPr id="74" name="Imagen 73">
            <a:extLst>
              <a:ext uri="{FF2B5EF4-FFF2-40B4-BE49-F238E27FC236}">
                <a16:creationId xmlns:a16="http://schemas.microsoft.com/office/drawing/2014/main" id="{F0E66704-FF7B-4255-C512-042341EC1501}"/>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647235" y="2374192"/>
            <a:ext cx="91537" cy="185848"/>
          </a:xfrm>
          <a:prstGeom prst="rect">
            <a:avLst/>
          </a:prstGeom>
        </p:spPr>
      </p:pic>
      <p:pic>
        <p:nvPicPr>
          <p:cNvPr id="75" name="Imagen 74">
            <a:extLst>
              <a:ext uri="{FF2B5EF4-FFF2-40B4-BE49-F238E27FC236}">
                <a16:creationId xmlns:a16="http://schemas.microsoft.com/office/drawing/2014/main" id="{12DA33B0-2DF0-C92C-116C-600561AD050D}"/>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647235" y="2837618"/>
            <a:ext cx="91537" cy="185848"/>
          </a:xfrm>
          <a:prstGeom prst="rect">
            <a:avLst/>
          </a:prstGeom>
        </p:spPr>
      </p:pic>
      <p:pic>
        <p:nvPicPr>
          <p:cNvPr id="90" name="Imagen 89">
            <a:extLst>
              <a:ext uri="{FF2B5EF4-FFF2-40B4-BE49-F238E27FC236}">
                <a16:creationId xmlns:a16="http://schemas.microsoft.com/office/drawing/2014/main" id="{26E2F729-8346-B707-9945-69C0E819685A}"/>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647235" y="4232985"/>
            <a:ext cx="91537" cy="185848"/>
          </a:xfrm>
          <a:prstGeom prst="rect">
            <a:avLst/>
          </a:prstGeom>
        </p:spPr>
      </p:pic>
      <p:pic>
        <p:nvPicPr>
          <p:cNvPr id="94" name="Imagen 93">
            <a:extLst>
              <a:ext uri="{FF2B5EF4-FFF2-40B4-BE49-F238E27FC236}">
                <a16:creationId xmlns:a16="http://schemas.microsoft.com/office/drawing/2014/main" id="{A0D88AF8-6B32-A2C0-B1E7-D2ED47476318}"/>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647235" y="3973719"/>
            <a:ext cx="91537" cy="185848"/>
          </a:xfrm>
          <a:prstGeom prst="rect">
            <a:avLst/>
          </a:prstGeom>
        </p:spPr>
      </p:pic>
      <p:sp>
        <p:nvSpPr>
          <p:cNvPr id="8" name="Cuadro de texto 334">
            <a:extLst>
              <a:ext uri="{FF2B5EF4-FFF2-40B4-BE49-F238E27FC236}">
                <a16:creationId xmlns:a16="http://schemas.microsoft.com/office/drawing/2014/main" id="{08B006DB-8627-1C79-E070-93D5B2B994B2}"/>
              </a:ext>
            </a:extLst>
          </p:cNvPr>
          <p:cNvSpPr txBox="1">
            <a:spLocks noChangeArrowheads="1"/>
          </p:cNvSpPr>
          <p:nvPr/>
        </p:nvSpPr>
        <p:spPr bwMode="auto">
          <a:xfrm>
            <a:off x="1080669" y="1427881"/>
            <a:ext cx="1478824" cy="376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r>
              <a:rPr lang="es-CL" sz="2000" b="1">
                <a:solidFill>
                  <a:schemeClr val="tx2"/>
                </a:solidFill>
                <a:latin typeface="Poppins" pitchFamily="2" charset="77"/>
                <a:cs typeface="Poppins" pitchFamily="2" charset="77"/>
              </a:rPr>
              <a:t>Colombia</a:t>
            </a:r>
            <a:endParaRPr kumimoji="0" lang="es-CL" altLang="es-CL" sz="1100" b="1" i="0" u="none" strike="noStrike" cap="none" normalizeH="0" baseline="0">
              <a:ln>
                <a:noFill/>
              </a:ln>
              <a:solidFill>
                <a:schemeClr val="tx2"/>
              </a:solidFill>
              <a:effectLst/>
              <a:latin typeface="Poppins" pitchFamily="2" charset="77"/>
              <a:cs typeface="Poppins" pitchFamily="2" charset="77"/>
            </a:endParaRPr>
          </a:p>
        </p:txBody>
      </p:sp>
      <p:graphicFrame>
        <p:nvGraphicFramePr>
          <p:cNvPr id="17" name="Chart 3">
            <a:extLst>
              <a:ext uri="{FF2B5EF4-FFF2-40B4-BE49-F238E27FC236}">
                <a16:creationId xmlns:a16="http://schemas.microsoft.com/office/drawing/2014/main" id="{98674341-8486-97D1-3E8A-B7C24A76E38D}"/>
              </a:ext>
            </a:extLst>
          </p:cNvPr>
          <p:cNvGraphicFramePr/>
          <p:nvPr>
            <p:custDataLst>
              <p:tags r:id="rId2"/>
            </p:custDataLst>
            <p:extLst>
              <p:ext uri="{D42A27DB-BD31-4B8C-83A1-F6EECF244321}">
                <p14:modId xmlns:p14="http://schemas.microsoft.com/office/powerpoint/2010/main" val="1263728343"/>
              </p:ext>
            </p:extLst>
          </p:nvPr>
        </p:nvGraphicFramePr>
        <p:xfrm>
          <a:off x="5629275" y="1854200"/>
          <a:ext cx="4311650" cy="1458913"/>
        </p:xfrm>
        <a:graphic>
          <a:graphicData uri="http://schemas.openxmlformats.org/drawingml/2006/chart">
            <c:chart xmlns:c="http://schemas.openxmlformats.org/drawingml/2006/chart" xmlns:r="http://schemas.openxmlformats.org/officeDocument/2006/relationships" r:id="rId24"/>
          </a:graphicData>
        </a:graphic>
      </p:graphicFrame>
      <p:sp>
        <p:nvSpPr>
          <p:cNvPr id="65" name="Marcador de texto 2">
            <a:extLst>
              <a:ext uri="{FF2B5EF4-FFF2-40B4-BE49-F238E27FC236}">
                <a16:creationId xmlns:a16="http://schemas.microsoft.com/office/drawing/2014/main" id="{7E48156E-6A95-A64B-8520-CD11DA6C5EEF}"/>
              </a:ext>
            </a:extLst>
          </p:cNvPr>
          <p:cNvSpPr>
            <a:spLocks noGrp="1"/>
          </p:cNvSpPr>
          <p:nvPr>
            <p:custDataLst>
              <p:tags r:id="rId3"/>
            </p:custDataLst>
          </p:nvPr>
        </p:nvSpPr>
        <p:spPr bwMode="auto">
          <a:xfrm>
            <a:off x="6027739" y="3289300"/>
            <a:ext cx="403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CL" altLang="en-US" sz="1400">
                <a:effectLst/>
              </a:rPr>
              <a:t>1Q24</a:t>
            </a:r>
            <a:endParaRPr lang="es-CL" sz="1400"/>
          </a:p>
        </p:txBody>
      </p:sp>
      <p:sp>
        <p:nvSpPr>
          <p:cNvPr id="67" name="Marcador de texto 2">
            <a:extLst>
              <a:ext uri="{FF2B5EF4-FFF2-40B4-BE49-F238E27FC236}">
                <a16:creationId xmlns:a16="http://schemas.microsoft.com/office/drawing/2014/main" id="{7E48156E-6A95-A64B-8520-CD11DA6C5EEF}"/>
              </a:ext>
            </a:extLst>
          </p:cNvPr>
          <p:cNvSpPr>
            <a:spLocks noGrp="1"/>
          </p:cNvSpPr>
          <p:nvPr>
            <p:custDataLst>
              <p:tags r:id="rId4"/>
            </p:custDataLst>
          </p:nvPr>
        </p:nvSpPr>
        <p:spPr bwMode="auto">
          <a:xfrm>
            <a:off x="7064375" y="3289300"/>
            <a:ext cx="403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CL" altLang="en-US" sz="1400">
                <a:effectLst/>
              </a:rPr>
              <a:t>1Q25</a:t>
            </a:r>
            <a:endParaRPr lang="es-CL" sz="1400"/>
          </a:p>
        </p:txBody>
      </p:sp>
      <p:sp>
        <p:nvSpPr>
          <p:cNvPr id="68" name="Marcador de texto 2">
            <a:extLst>
              <a:ext uri="{FF2B5EF4-FFF2-40B4-BE49-F238E27FC236}">
                <a16:creationId xmlns:a16="http://schemas.microsoft.com/office/drawing/2014/main" id="{7E48156E-6A95-A64B-8520-CD11DA6C5EEF}"/>
              </a:ext>
            </a:extLst>
          </p:cNvPr>
          <p:cNvSpPr>
            <a:spLocks noGrp="1"/>
          </p:cNvSpPr>
          <p:nvPr>
            <p:custDataLst>
              <p:tags r:id="rId5"/>
            </p:custDataLst>
          </p:nvPr>
        </p:nvSpPr>
        <p:spPr bwMode="auto">
          <a:xfrm>
            <a:off x="8085138" y="3289300"/>
            <a:ext cx="4365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E7991A6-A3A8-40AC-A2B7-95A35153BA81}" type="datetime'''''''''''''''''''''3''''''''M''''''''24'''''''''''''">
              <a:rPr lang="es-CL" altLang="en-US" sz="1400" smtClean="0">
                <a:effectLst/>
              </a:rPr>
              <a:pPr marL="0" indent="0" algn="ctr">
                <a:spcBef>
                  <a:spcPct val="0"/>
                </a:spcBef>
                <a:spcAft>
                  <a:spcPct val="0"/>
                </a:spcAft>
                <a:buNone/>
              </a:pPr>
              <a:t>3M24</a:t>
            </a:fld>
            <a:endParaRPr lang="es-CL" sz="1400"/>
          </a:p>
        </p:txBody>
      </p:sp>
      <p:sp>
        <p:nvSpPr>
          <p:cNvPr id="69" name="Marcador de texto 2">
            <a:extLst>
              <a:ext uri="{FF2B5EF4-FFF2-40B4-BE49-F238E27FC236}">
                <a16:creationId xmlns:a16="http://schemas.microsoft.com/office/drawing/2014/main" id="{7E48156E-6A95-A64B-8520-CD11DA6C5EEF}"/>
              </a:ext>
            </a:extLst>
          </p:cNvPr>
          <p:cNvSpPr>
            <a:spLocks noGrp="1"/>
          </p:cNvSpPr>
          <p:nvPr>
            <p:custDataLst>
              <p:tags r:id="rId6"/>
            </p:custDataLst>
          </p:nvPr>
        </p:nvSpPr>
        <p:spPr bwMode="auto">
          <a:xfrm>
            <a:off x="9121775" y="3289300"/>
            <a:ext cx="4365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0E26FBF-9616-4BDC-BE6C-BD0E77B09C04}" type="datetime'''3''''''M''''''''''''''''''''''''''''''2''''''''''''''5'">
              <a:rPr lang="es-CL" altLang="en-US" sz="1400" smtClean="0">
                <a:effectLst/>
              </a:rPr>
              <a:pPr marL="0" indent="0" algn="ctr">
                <a:spcBef>
                  <a:spcPct val="0"/>
                </a:spcBef>
                <a:spcAft>
                  <a:spcPct val="0"/>
                </a:spcAft>
                <a:buNone/>
              </a:pPr>
              <a:t>3M25</a:t>
            </a:fld>
            <a:endParaRPr lang="es-CL" sz="1400"/>
          </a:p>
        </p:txBody>
      </p:sp>
      <p:sp>
        <p:nvSpPr>
          <p:cNvPr id="70" name="Marcador de texto 2">
            <a:extLst>
              <a:ext uri="{FF2B5EF4-FFF2-40B4-BE49-F238E27FC236}">
                <a16:creationId xmlns:a16="http://schemas.microsoft.com/office/drawing/2014/main" id="{7E48156E-6A95-A64B-8520-CD11DA6C5EEF}"/>
              </a:ext>
            </a:extLst>
          </p:cNvPr>
          <p:cNvSpPr>
            <a:spLocks noGrp="1"/>
          </p:cNvSpPr>
          <p:nvPr>
            <p:custDataLst>
              <p:tags r:id="rId7"/>
            </p:custDataLst>
          </p:nvPr>
        </p:nvSpPr>
        <p:spPr bwMode="auto">
          <a:xfrm>
            <a:off x="5091113" y="2487613"/>
            <a:ext cx="708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s-CL" altLang="en-US" sz="1400" b="1" err="1">
                <a:effectLst/>
              </a:rPr>
              <a:t>Revenues</a:t>
            </a:r>
            <a:endParaRPr lang="es-CL" sz="1400" b="1"/>
          </a:p>
        </p:txBody>
      </p:sp>
      <p:sp>
        <p:nvSpPr>
          <p:cNvPr id="9" name="Marcador de texto 2">
            <a:extLst>
              <a:ext uri="{FF2B5EF4-FFF2-40B4-BE49-F238E27FC236}">
                <a16:creationId xmlns:a16="http://schemas.microsoft.com/office/drawing/2014/main" id="{7E48156E-6A95-A64B-8520-CD11DA6C5EEF}"/>
              </a:ext>
            </a:extLst>
          </p:cNvPr>
          <p:cNvSpPr>
            <a:spLocks noGrp="1"/>
          </p:cNvSpPr>
          <p:nvPr>
            <p:custDataLst>
              <p:tags r:id="rId8"/>
            </p:custDataLst>
          </p:nvPr>
        </p:nvSpPr>
        <p:spPr bwMode="gray">
          <a:xfrm>
            <a:off x="6000750" y="1719263"/>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138548C-5B2C-4877-9F43-9DD2CE6E4386}" type="datetime'''''''''1'''''''''''',''''40''''''''''''''''2'''''''''''''">
              <a:rPr lang="es-CL" altLang="en-US" sz="1400" smtClean="0">
                <a:effectLst/>
              </a:rPr>
              <a:pPr marL="0" indent="0" algn="ctr">
                <a:spcBef>
                  <a:spcPct val="0"/>
                </a:spcBef>
                <a:spcAft>
                  <a:spcPct val="0"/>
                </a:spcAft>
                <a:buNone/>
              </a:pPr>
              <a:t>1,402</a:t>
            </a:fld>
            <a:endParaRPr lang="es-CL" sz="1400"/>
          </a:p>
        </p:txBody>
      </p:sp>
      <p:sp>
        <p:nvSpPr>
          <p:cNvPr id="14" name="Marcador de texto 2">
            <a:extLst>
              <a:ext uri="{FF2B5EF4-FFF2-40B4-BE49-F238E27FC236}">
                <a16:creationId xmlns:a16="http://schemas.microsoft.com/office/drawing/2014/main" id="{7E48156E-6A95-A64B-8520-CD11DA6C5EEF}"/>
              </a:ext>
            </a:extLst>
          </p:cNvPr>
          <p:cNvSpPr>
            <a:spLocks noGrp="1"/>
          </p:cNvSpPr>
          <p:nvPr>
            <p:custDataLst>
              <p:tags r:id="rId9"/>
            </p:custDataLst>
          </p:nvPr>
        </p:nvSpPr>
        <p:spPr bwMode="gray">
          <a:xfrm>
            <a:off x="7037388" y="1779588"/>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3308FF-157A-445F-8574-BE9E9DDE93EA}" type="datetime'''''''''''1'''''',''''''''''''''3''''''''''''''''3''7'''">
              <a:rPr lang="es-CL" altLang="en-US" sz="1400" smtClean="0">
                <a:effectLst/>
              </a:rPr>
              <a:pPr marL="0" indent="0" algn="ctr">
                <a:spcBef>
                  <a:spcPct val="0"/>
                </a:spcBef>
                <a:spcAft>
                  <a:spcPct val="0"/>
                </a:spcAft>
                <a:buNone/>
              </a:pPr>
              <a:t>1,337</a:t>
            </a:fld>
            <a:endParaRPr lang="es-CL" sz="1400"/>
          </a:p>
        </p:txBody>
      </p:sp>
      <p:sp>
        <p:nvSpPr>
          <p:cNvPr id="15" name="Marcador de texto 2">
            <a:extLst>
              <a:ext uri="{FF2B5EF4-FFF2-40B4-BE49-F238E27FC236}">
                <a16:creationId xmlns:a16="http://schemas.microsoft.com/office/drawing/2014/main" id="{7E48156E-6A95-A64B-8520-CD11DA6C5EEF}"/>
              </a:ext>
            </a:extLst>
          </p:cNvPr>
          <p:cNvSpPr>
            <a:spLocks noGrp="1"/>
          </p:cNvSpPr>
          <p:nvPr>
            <p:custDataLst>
              <p:tags r:id="rId10"/>
            </p:custDataLst>
          </p:nvPr>
        </p:nvSpPr>
        <p:spPr bwMode="gray">
          <a:xfrm>
            <a:off x="8074025" y="1719263"/>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4220EC9-2C04-401F-8D8A-F0039B9FACEC}" type="datetime'''''''''''1'''''''''''''''''''''''''',''4''0''''''2'''''''''">
              <a:rPr lang="es-CL" altLang="en-US" sz="1400" smtClean="0">
                <a:effectLst/>
              </a:rPr>
              <a:pPr marL="0" indent="0" algn="ctr">
                <a:spcBef>
                  <a:spcPct val="0"/>
                </a:spcBef>
                <a:spcAft>
                  <a:spcPct val="0"/>
                </a:spcAft>
                <a:buNone/>
              </a:pPr>
              <a:t>1,402</a:t>
            </a:fld>
            <a:endParaRPr lang="es-CL" sz="1400"/>
          </a:p>
        </p:txBody>
      </p:sp>
      <p:sp>
        <p:nvSpPr>
          <p:cNvPr id="16" name="Marcador de texto 2">
            <a:extLst>
              <a:ext uri="{FF2B5EF4-FFF2-40B4-BE49-F238E27FC236}">
                <a16:creationId xmlns:a16="http://schemas.microsoft.com/office/drawing/2014/main" id="{7E48156E-6A95-A64B-8520-CD11DA6C5EEF}"/>
              </a:ext>
            </a:extLst>
          </p:cNvPr>
          <p:cNvSpPr>
            <a:spLocks noGrp="1"/>
          </p:cNvSpPr>
          <p:nvPr>
            <p:custDataLst>
              <p:tags r:id="rId11"/>
            </p:custDataLst>
          </p:nvPr>
        </p:nvSpPr>
        <p:spPr bwMode="gray">
          <a:xfrm>
            <a:off x="9110663" y="1779588"/>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D6AEDD1-6455-41BB-B02F-9C95DEDAF67A}" type="datetime'''''1'',''''3''''''''''''3''''''''''7'">
              <a:rPr lang="es-CL" altLang="en-US" sz="1400" smtClean="0">
                <a:effectLst/>
              </a:rPr>
              <a:pPr marL="0" indent="0" algn="ctr">
                <a:spcBef>
                  <a:spcPct val="0"/>
                </a:spcBef>
                <a:spcAft>
                  <a:spcPct val="0"/>
                </a:spcAft>
                <a:buNone/>
              </a:pPr>
              <a:t>1,337</a:t>
            </a:fld>
            <a:endParaRPr lang="es-CL" sz="1400"/>
          </a:p>
        </p:txBody>
      </p:sp>
      <p:graphicFrame>
        <p:nvGraphicFramePr>
          <p:cNvPr id="36" name="Chart 3">
            <a:extLst>
              <a:ext uri="{FF2B5EF4-FFF2-40B4-BE49-F238E27FC236}">
                <a16:creationId xmlns:a16="http://schemas.microsoft.com/office/drawing/2014/main" id="{20B7C3F6-32FD-4488-F995-EAD196C1D500}"/>
              </a:ext>
            </a:extLst>
          </p:cNvPr>
          <p:cNvGraphicFramePr/>
          <p:nvPr>
            <p:custDataLst>
              <p:tags r:id="rId12"/>
            </p:custDataLst>
            <p:extLst>
              <p:ext uri="{D42A27DB-BD31-4B8C-83A1-F6EECF244321}">
                <p14:modId xmlns:p14="http://schemas.microsoft.com/office/powerpoint/2010/main" val="2209054676"/>
              </p:ext>
            </p:extLst>
          </p:nvPr>
        </p:nvGraphicFramePr>
        <p:xfrm>
          <a:off x="5629275" y="3886200"/>
          <a:ext cx="4311650" cy="1930400"/>
        </p:xfrm>
        <a:graphic>
          <a:graphicData uri="http://schemas.openxmlformats.org/drawingml/2006/chart">
            <c:chart xmlns:c="http://schemas.openxmlformats.org/drawingml/2006/chart" xmlns:r="http://schemas.openxmlformats.org/officeDocument/2006/relationships" r:id="rId25"/>
          </a:graphicData>
        </a:graphic>
      </p:graphicFrame>
      <p:sp>
        <p:nvSpPr>
          <p:cNvPr id="79" name="Marcador de texto 2">
            <a:extLst>
              <a:ext uri="{FF2B5EF4-FFF2-40B4-BE49-F238E27FC236}">
                <a16:creationId xmlns:a16="http://schemas.microsoft.com/office/drawing/2014/main" id="{7E48156E-6A95-A64B-8520-CD11DA6C5EEF}"/>
              </a:ext>
            </a:extLst>
          </p:cNvPr>
          <p:cNvSpPr>
            <a:spLocks noGrp="1"/>
          </p:cNvSpPr>
          <p:nvPr>
            <p:custDataLst>
              <p:tags r:id="rId13"/>
            </p:custDataLst>
          </p:nvPr>
        </p:nvSpPr>
        <p:spPr bwMode="auto">
          <a:xfrm>
            <a:off x="6027738" y="5568950"/>
            <a:ext cx="403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CL" altLang="en-US" sz="1400">
                <a:effectLst/>
              </a:rPr>
              <a:t>1Q24</a:t>
            </a:r>
            <a:endParaRPr lang="es-CL" sz="1400"/>
          </a:p>
        </p:txBody>
      </p:sp>
      <p:sp>
        <p:nvSpPr>
          <p:cNvPr id="81" name="Marcador de texto 2">
            <a:extLst>
              <a:ext uri="{FF2B5EF4-FFF2-40B4-BE49-F238E27FC236}">
                <a16:creationId xmlns:a16="http://schemas.microsoft.com/office/drawing/2014/main" id="{7E48156E-6A95-A64B-8520-CD11DA6C5EEF}"/>
              </a:ext>
            </a:extLst>
          </p:cNvPr>
          <p:cNvSpPr>
            <a:spLocks noGrp="1"/>
          </p:cNvSpPr>
          <p:nvPr>
            <p:custDataLst>
              <p:tags r:id="rId14"/>
            </p:custDataLst>
          </p:nvPr>
        </p:nvSpPr>
        <p:spPr bwMode="auto">
          <a:xfrm>
            <a:off x="7064375" y="5568950"/>
            <a:ext cx="403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CL" altLang="en-US" sz="1400">
                <a:effectLst/>
              </a:rPr>
              <a:t>1Q25</a:t>
            </a:r>
            <a:endParaRPr lang="es-CL" sz="1400"/>
          </a:p>
        </p:txBody>
      </p:sp>
      <p:sp>
        <p:nvSpPr>
          <p:cNvPr id="82" name="Marcador de texto 2">
            <a:extLst>
              <a:ext uri="{FF2B5EF4-FFF2-40B4-BE49-F238E27FC236}">
                <a16:creationId xmlns:a16="http://schemas.microsoft.com/office/drawing/2014/main" id="{7E48156E-6A95-A64B-8520-CD11DA6C5EEF}"/>
              </a:ext>
            </a:extLst>
          </p:cNvPr>
          <p:cNvSpPr>
            <a:spLocks noGrp="1"/>
          </p:cNvSpPr>
          <p:nvPr>
            <p:custDataLst>
              <p:tags r:id="rId15"/>
            </p:custDataLst>
          </p:nvPr>
        </p:nvSpPr>
        <p:spPr bwMode="auto">
          <a:xfrm>
            <a:off x="8085138" y="5568950"/>
            <a:ext cx="4365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38477C6-A20B-42FF-8004-2A884A042DE2}" type="datetime'''3''''''''M''''''''2''4'''''''''''''''''''''''''''''''''''''">
              <a:rPr lang="es-CL" altLang="en-US" sz="1400" smtClean="0">
                <a:effectLst/>
              </a:rPr>
              <a:pPr marL="0" indent="0" algn="ctr">
                <a:spcBef>
                  <a:spcPct val="0"/>
                </a:spcBef>
                <a:spcAft>
                  <a:spcPct val="0"/>
                </a:spcAft>
                <a:buNone/>
              </a:pPr>
              <a:t>3M24</a:t>
            </a:fld>
            <a:endParaRPr lang="es-CL" sz="1400"/>
          </a:p>
        </p:txBody>
      </p:sp>
      <p:sp>
        <p:nvSpPr>
          <p:cNvPr id="83" name="Marcador de texto 2">
            <a:extLst>
              <a:ext uri="{FF2B5EF4-FFF2-40B4-BE49-F238E27FC236}">
                <a16:creationId xmlns:a16="http://schemas.microsoft.com/office/drawing/2014/main" id="{7E48156E-6A95-A64B-8520-CD11DA6C5EEF}"/>
              </a:ext>
            </a:extLst>
          </p:cNvPr>
          <p:cNvSpPr>
            <a:spLocks noGrp="1"/>
          </p:cNvSpPr>
          <p:nvPr>
            <p:custDataLst>
              <p:tags r:id="rId16"/>
            </p:custDataLst>
          </p:nvPr>
        </p:nvSpPr>
        <p:spPr bwMode="auto">
          <a:xfrm>
            <a:off x="9121775" y="5568950"/>
            <a:ext cx="4365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BC5D1F9-6627-4A15-A0A8-61E097A1D9A7}" type="datetime'''''''''''''''''''''''''3''''''''M''''''2''''''''''''''5'">
              <a:rPr lang="es-CL" altLang="en-US" sz="1400" smtClean="0">
                <a:effectLst/>
              </a:rPr>
              <a:pPr marL="0" indent="0" algn="ctr">
                <a:spcBef>
                  <a:spcPct val="0"/>
                </a:spcBef>
                <a:spcAft>
                  <a:spcPct val="0"/>
                </a:spcAft>
                <a:buNone/>
              </a:pPr>
              <a:t>3M25</a:t>
            </a:fld>
            <a:endParaRPr lang="es-CL" sz="1400"/>
          </a:p>
        </p:txBody>
      </p:sp>
      <p:sp>
        <p:nvSpPr>
          <p:cNvPr id="84" name="Marcador de texto 2">
            <a:extLst>
              <a:ext uri="{FF2B5EF4-FFF2-40B4-BE49-F238E27FC236}">
                <a16:creationId xmlns:a16="http://schemas.microsoft.com/office/drawing/2014/main" id="{7E48156E-6A95-A64B-8520-CD11DA6C5EEF}"/>
              </a:ext>
            </a:extLst>
          </p:cNvPr>
          <p:cNvSpPr>
            <a:spLocks noGrp="1"/>
          </p:cNvSpPr>
          <p:nvPr>
            <p:custDataLst>
              <p:tags r:id="rId17"/>
            </p:custDataLst>
          </p:nvPr>
        </p:nvSpPr>
        <p:spPr bwMode="auto">
          <a:xfrm>
            <a:off x="5102225" y="4722813"/>
            <a:ext cx="696913"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s-CL" altLang="en-US" sz="1400" b="1" err="1">
                <a:effectLst/>
              </a:rPr>
              <a:t>Adjusted</a:t>
            </a:r>
            <a:r>
              <a:rPr lang="es-CL" altLang="en-US" sz="1400">
                <a:effectLst/>
              </a:rPr>
              <a:t> </a:t>
            </a:r>
            <a:br>
              <a:rPr lang="es-CL" altLang="en-US" sz="1400">
                <a:effectLst/>
              </a:rPr>
            </a:br>
            <a:r>
              <a:rPr lang="es-CL" altLang="en-US" sz="1400" b="1">
                <a:effectLst/>
              </a:rPr>
              <a:t>EBITDA</a:t>
            </a:r>
            <a:endParaRPr lang="es-CL" sz="1400" b="1"/>
          </a:p>
        </p:txBody>
      </p:sp>
      <p:sp>
        <p:nvSpPr>
          <p:cNvPr id="2" name="CuadroTexto 1">
            <a:extLst>
              <a:ext uri="{FF2B5EF4-FFF2-40B4-BE49-F238E27FC236}">
                <a16:creationId xmlns:a16="http://schemas.microsoft.com/office/drawing/2014/main" id="{AC31CF0C-F5C9-55FB-B7FE-56A979BB9F4F}"/>
              </a:ext>
            </a:extLst>
          </p:cNvPr>
          <p:cNvSpPr txBox="1"/>
          <p:nvPr/>
        </p:nvSpPr>
        <p:spPr>
          <a:xfrm>
            <a:off x="491794" y="207049"/>
            <a:ext cx="9716917" cy="1015663"/>
          </a:xfrm>
          <a:prstGeom prst="rect">
            <a:avLst/>
          </a:prstGeom>
          <a:noFill/>
        </p:spPr>
        <p:txBody>
          <a:bodyPr wrap="square" rtlCol="0">
            <a:spAutoFit/>
          </a:bodyPr>
          <a:lstStyle/>
          <a:p>
            <a:r>
              <a:rPr lang="es-CL" sz="3000" b="1">
                <a:solidFill>
                  <a:schemeClr val="accent3"/>
                </a:solidFill>
                <a:latin typeface="Poppins" pitchFamily="2" charset="77"/>
                <a:cs typeface="Poppins" pitchFamily="2" charset="77"/>
              </a:rPr>
              <a:t>2.6</a:t>
            </a:r>
            <a:r>
              <a:rPr lang="es-CL" sz="3000" b="1">
                <a:solidFill>
                  <a:schemeClr val="tx2"/>
                </a:solidFill>
                <a:latin typeface="Poppins" pitchFamily="2" charset="77"/>
                <a:cs typeface="Poppins" pitchFamily="2" charset="77"/>
              </a:rPr>
              <a:t> </a:t>
            </a:r>
            <a:r>
              <a:rPr lang="en-US" sz="3000" b="1">
                <a:solidFill>
                  <a:schemeClr val="tx2"/>
                </a:solidFill>
                <a:latin typeface="Poppins" pitchFamily="2" charset="77"/>
                <a:cs typeface="Poppins" pitchFamily="2" charset="77"/>
              </a:rPr>
              <a:t>Colombia – Progress Continues on Cenco </a:t>
            </a:r>
            <a:r>
              <a:rPr lang="en-US" sz="3000" b="1" err="1">
                <a:solidFill>
                  <a:schemeClr val="tx2"/>
                </a:solidFill>
                <a:latin typeface="Poppins" pitchFamily="2" charset="77"/>
                <a:cs typeface="Poppins" pitchFamily="2" charset="77"/>
              </a:rPr>
              <a:t>Limonar</a:t>
            </a:r>
            <a:r>
              <a:rPr lang="en-US" sz="3000" b="1">
                <a:solidFill>
                  <a:schemeClr val="tx2"/>
                </a:solidFill>
                <a:latin typeface="Poppins" pitchFamily="2" charset="77"/>
                <a:cs typeface="Poppins" pitchFamily="2" charset="77"/>
              </a:rPr>
              <a:t> for Opening in the Coming Months</a:t>
            </a:r>
            <a:endParaRPr lang="es-CL" sz="3000" b="1">
              <a:solidFill>
                <a:schemeClr val="tx2"/>
              </a:solidFill>
              <a:latin typeface="Poppins" pitchFamily="2" charset="77"/>
              <a:cs typeface="Poppins" pitchFamily="2" charset="77"/>
            </a:endParaRPr>
          </a:p>
        </p:txBody>
      </p:sp>
      <p:pic>
        <p:nvPicPr>
          <p:cNvPr id="11" name="Imagen 10">
            <a:extLst>
              <a:ext uri="{FF2B5EF4-FFF2-40B4-BE49-F238E27FC236}">
                <a16:creationId xmlns:a16="http://schemas.microsoft.com/office/drawing/2014/main" id="{24595E99-E83B-1D64-6DEF-99D0AF76A691}"/>
              </a:ext>
            </a:extLst>
          </p:cNvPr>
          <p:cNvPicPr>
            <a:picLocks noChangeAspect="1"/>
          </p:cNvPicPr>
          <p:nvPr/>
        </p:nvPicPr>
        <p:blipFill>
          <a:blip r:embed="rId26"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0658074" y="1379773"/>
            <a:ext cx="580223" cy="563157"/>
          </a:xfrm>
          <a:prstGeom prst="rect">
            <a:avLst/>
          </a:prstGeom>
        </p:spPr>
      </p:pic>
      <p:sp>
        <p:nvSpPr>
          <p:cNvPr id="12" name="Cuadro de texto 334">
            <a:extLst>
              <a:ext uri="{FF2B5EF4-FFF2-40B4-BE49-F238E27FC236}">
                <a16:creationId xmlns:a16="http://schemas.microsoft.com/office/drawing/2014/main" id="{45B9942D-AB92-6A86-6C0D-2F02A550EC61}"/>
              </a:ext>
            </a:extLst>
          </p:cNvPr>
          <p:cNvSpPr txBox="1">
            <a:spLocks noChangeArrowheads="1"/>
          </p:cNvSpPr>
          <p:nvPr/>
        </p:nvSpPr>
        <p:spPr bwMode="auto">
          <a:xfrm>
            <a:off x="9997423" y="2057379"/>
            <a:ext cx="2017781" cy="76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ts val="600"/>
              </a:spcAft>
            </a:pPr>
            <a:r>
              <a:rPr lang="es-CL" altLang="es-CL" sz="1400" b="1" err="1">
                <a:solidFill>
                  <a:schemeClr val="tx2"/>
                </a:solidFill>
                <a:latin typeface="Poppins" pitchFamily="2" charset="77"/>
                <a:cs typeface="Poppins" pitchFamily="2" charset="77"/>
              </a:rPr>
              <a:t>Revenues</a:t>
            </a:r>
            <a:endParaRPr lang="es-CL" altLang="es-CL" sz="1400" b="1" baseline="30000">
              <a:solidFill>
                <a:schemeClr val="tx2"/>
              </a:solidFill>
              <a:latin typeface="Poppins" pitchFamily="2" charset="77"/>
              <a:cs typeface="Poppins" pitchFamily="2" charset="77"/>
            </a:endParaRPr>
          </a:p>
          <a:p>
            <a:pPr algn="ctr" eaLnBrk="0" fontAlgn="base" hangingPunct="0">
              <a:spcBef>
                <a:spcPct val="0"/>
              </a:spcBef>
              <a:spcAft>
                <a:spcPts val="600"/>
              </a:spcAft>
            </a:pPr>
            <a:r>
              <a:rPr lang="es-CL" altLang="es-CL" sz="2400" b="1">
                <a:solidFill>
                  <a:schemeClr val="tx2"/>
                </a:solidFill>
                <a:latin typeface="Poppins" pitchFamily="2" charset="77"/>
                <a:cs typeface="Poppins" pitchFamily="2" charset="77"/>
              </a:rPr>
              <a:t>-4.7% </a:t>
            </a:r>
            <a:r>
              <a:rPr lang="es-CL" altLang="es-CL" sz="1200" b="1" err="1">
                <a:solidFill>
                  <a:schemeClr val="tx2"/>
                </a:solidFill>
                <a:latin typeface="Poppins" pitchFamily="2" charset="77"/>
                <a:cs typeface="Poppins" pitchFamily="2" charset="77"/>
              </a:rPr>
              <a:t>YoY</a:t>
            </a:r>
            <a:r>
              <a:rPr lang="es-CL" altLang="es-CL" sz="1200" b="1">
                <a:solidFill>
                  <a:schemeClr val="tx2"/>
                </a:solidFill>
                <a:latin typeface="Poppins" pitchFamily="2" charset="77"/>
                <a:cs typeface="Poppins" pitchFamily="2" charset="77"/>
              </a:rPr>
              <a:t> in CLP</a:t>
            </a:r>
            <a:endParaRPr lang="es-CL" altLang="es-CL" sz="2400" b="1">
              <a:solidFill>
                <a:schemeClr val="tx2"/>
              </a:solidFill>
              <a:latin typeface="Poppins" pitchFamily="2" charset="77"/>
              <a:cs typeface="Poppins" pitchFamily="2" charset="77"/>
            </a:endParaRPr>
          </a:p>
        </p:txBody>
      </p:sp>
      <p:sp>
        <p:nvSpPr>
          <p:cNvPr id="13" name="Cuadro de texto 334">
            <a:extLst>
              <a:ext uri="{FF2B5EF4-FFF2-40B4-BE49-F238E27FC236}">
                <a16:creationId xmlns:a16="http://schemas.microsoft.com/office/drawing/2014/main" id="{D82F3C46-56B7-E92C-D58F-18DF6BECB175}"/>
              </a:ext>
            </a:extLst>
          </p:cNvPr>
          <p:cNvSpPr txBox="1">
            <a:spLocks noChangeArrowheads="1"/>
          </p:cNvSpPr>
          <p:nvPr/>
        </p:nvSpPr>
        <p:spPr bwMode="auto">
          <a:xfrm>
            <a:off x="9940925" y="2851315"/>
            <a:ext cx="2074279" cy="470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ts val="600"/>
              </a:spcAft>
            </a:pPr>
            <a:r>
              <a:rPr lang="es-CL" altLang="es-CL" sz="2400" b="1">
                <a:solidFill>
                  <a:schemeClr val="tx2"/>
                </a:solidFill>
                <a:latin typeface="Poppins" pitchFamily="2" charset="77"/>
                <a:cs typeface="Poppins" pitchFamily="2" charset="77"/>
              </a:rPr>
              <a:t>+0.9% </a:t>
            </a:r>
            <a:r>
              <a:rPr lang="es-CL" altLang="es-CL" sz="1200" b="1" err="1">
                <a:solidFill>
                  <a:schemeClr val="tx2"/>
                </a:solidFill>
                <a:latin typeface="Poppins" pitchFamily="2" charset="77"/>
                <a:cs typeface="Poppins" pitchFamily="2" charset="77"/>
              </a:rPr>
              <a:t>YoY</a:t>
            </a:r>
            <a:r>
              <a:rPr lang="es-CL" altLang="es-CL" sz="1200" b="1">
                <a:solidFill>
                  <a:schemeClr val="tx2"/>
                </a:solidFill>
                <a:latin typeface="Poppins" pitchFamily="2" charset="77"/>
                <a:cs typeface="Poppins" pitchFamily="2" charset="77"/>
              </a:rPr>
              <a:t> in COP</a:t>
            </a:r>
            <a:endParaRPr lang="es-CL" altLang="es-CL" sz="2400" b="1">
              <a:solidFill>
                <a:schemeClr val="tx2"/>
              </a:solidFill>
              <a:latin typeface="Poppins" pitchFamily="2" charset="77"/>
              <a:cs typeface="Poppins" pitchFamily="2" charset="77"/>
            </a:endParaRPr>
          </a:p>
        </p:txBody>
      </p:sp>
      <p:pic>
        <p:nvPicPr>
          <p:cNvPr id="27" name="Imagen 26">
            <a:extLst>
              <a:ext uri="{FF2B5EF4-FFF2-40B4-BE49-F238E27FC236}">
                <a16:creationId xmlns:a16="http://schemas.microsoft.com/office/drawing/2014/main" id="{CA61CBEA-B7AB-B572-49F6-AA2405A3C185}"/>
              </a:ext>
            </a:extLst>
          </p:cNvPr>
          <p:cNvPicPr>
            <a:picLocks noChangeAspect="1"/>
          </p:cNvPicPr>
          <p:nvPr/>
        </p:nvPicPr>
        <p:blipFill>
          <a:blip r:embed="rId27"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463214" y="4054735"/>
            <a:ext cx="792581" cy="749032"/>
          </a:xfrm>
          <a:prstGeom prst="rect">
            <a:avLst/>
          </a:prstGeom>
        </p:spPr>
      </p:pic>
      <p:sp>
        <p:nvSpPr>
          <p:cNvPr id="28" name="Cuadro de texto 334">
            <a:extLst>
              <a:ext uri="{FF2B5EF4-FFF2-40B4-BE49-F238E27FC236}">
                <a16:creationId xmlns:a16="http://schemas.microsoft.com/office/drawing/2014/main" id="{23F588F5-3A1B-87E4-14E1-2BB3596CDEF6}"/>
              </a:ext>
            </a:extLst>
          </p:cNvPr>
          <p:cNvSpPr txBox="1">
            <a:spLocks noChangeArrowheads="1"/>
          </p:cNvSpPr>
          <p:nvPr/>
        </p:nvSpPr>
        <p:spPr bwMode="auto">
          <a:xfrm>
            <a:off x="9719227" y="4916271"/>
            <a:ext cx="2295977" cy="76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ts val="600"/>
              </a:spcAft>
            </a:pPr>
            <a:r>
              <a:rPr lang="es-CL" altLang="es-CL" sz="1400" b="1" err="1">
                <a:solidFill>
                  <a:schemeClr val="tx2"/>
                </a:solidFill>
                <a:latin typeface="Poppins" pitchFamily="2" charset="77"/>
                <a:cs typeface="Poppins" pitchFamily="2" charset="77"/>
              </a:rPr>
              <a:t>Adjusted</a:t>
            </a:r>
            <a:r>
              <a:rPr lang="es-CL" altLang="es-CL" sz="1400" b="1">
                <a:solidFill>
                  <a:schemeClr val="tx2"/>
                </a:solidFill>
                <a:latin typeface="Poppins" pitchFamily="2" charset="77"/>
                <a:cs typeface="Poppins" pitchFamily="2" charset="77"/>
              </a:rPr>
              <a:t> EBITDA </a:t>
            </a:r>
            <a:r>
              <a:rPr lang="es-CL" altLang="es-CL" sz="1400" b="1" err="1">
                <a:solidFill>
                  <a:schemeClr val="tx2"/>
                </a:solidFill>
                <a:latin typeface="Poppins" pitchFamily="2" charset="77"/>
                <a:cs typeface="Poppins" pitchFamily="2" charset="77"/>
              </a:rPr>
              <a:t>Margin</a:t>
            </a:r>
            <a:r>
              <a:rPr lang="es-CL" altLang="es-CL" sz="1400" b="1">
                <a:solidFill>
                  <a:schemeClr val="tx2"/>
                </a:solidFill>
                <a:latin typeface="Poppins" pitchFamily="2" charset="77"/>
                <a:cs typeface="Poppins" pitchFamily="2" charset="77"/>
              </a:rPr>
              <a:t> </a:t>
            </a:r>
            <a:endParaRPr lang="es-CL" altLang="es-CL" sz="1200" b="1">
              <a:solidFill>
                <a:schemeClr val="tx2"/>
              </a:solidFill>
              <a:latin typeface="Poppins" pitchFamily="2" charset="77"/>
              <a:cs typeface="Poppins" pitchFamily="2" charset="77"/>
            </a:endParaRPr>
          </a:p>
          <a:p>
            <a:pPr algn="ctr" eaLnBrk="0" fontAlgn="base" hangingPunct="0">
              <a:spcBef>
                <a:spcPct val="0"/>
              </a:spcBef>
              <a:spcAft>
                <a:spcPts val="600"/>
              </a:spcAft>
            </a:pPr>
            <a:r>
              <a:rPr lang="es-CL" altLang="es-CL" sz="2400" b="1">
                <a:solidFill>
                  <a:schemeClr val="tx2"/>
                </a:solidFill>
                <a:latin typeface="Poppins" pitchFamily="2" charset="77"/>
                <a:cs typeface="Poppins" pitchFamily="2" charset="77"/>
              </a:rPr>
              <a:t>-2,853 </a:t>
            </a:r>
            <a:r>
              <a:rPr lang="es-CL" altLang="es-CL" sz="1200" b="1">
                <a:solidFill>
                  <a:schemeClr val="tx2"/>
                </a:solidFill>
                <a:latin typeface="Poppins" pitchFamily="2" charset="77"/>
                <a:cs typeface="Poppins" pitchFamily="2" charset="77"/>
              </a:rPr>
              <a:t>bps </a:t>
            </a:r>
            <a:r>
              <a:rPr lang="es-CL" altLang="es-CL" sz="1200" b="1" err="1">
                <a:solidFill>
                  <a:schemeClr val="tx2"/>
                </a:solidFill>
                <a:latin typeface="Poppins" pitchFamily="2" charset="77"/>
                <a:cs typeface="Poppins" pitchFamily="2" charset="77"/>
              </a:rPr>
              <a:t>YoY</a:t>
            </a:r>
            <a:endParaRPr lang="es-CL" altLang="es-CL" sz="2400" b="1">
              <a:solidFill>
                <a:schemeClr val="tx2"/>
              </a:solidFill>
              <a:latin typeface="Poppins" pitchFamily="2" charset="77"/>
              <a:cs typeface="Poppins" pitchFamily="2" charset="77"/>
            </a:endParaRPr>
          </a:p>
        </p:txBody>
      </p:sp>
      <p:sp>
        <p:nvSpPr>
          <p:cNvPr id="3" name="Marcador de número de diapositiva 1">
            <a:extLst>
              <a:ext uri="{FF2B5EF4-FFF2-40B4-BE49-F238E27FC236}">
                <a16:creationId xmlns:a16="http://schemas.microsoft.com/office/drawing/2014/main" id="{10A336F2-66C8-56E7-DEC1-1F9873ED4ADF}"/>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14</a:t>
            </a:fld>
            <a:endParaRPr lang="es-CL"/>
          </a:p>
        </p:txBody>
      </p:sp>
      <p:sp>
        <p:nvSpPr>
          <p:cNvPr id="5" name="Título 1">
            <a:extLst>
              <a:ext uri="{FF2B5EF4-FFF2-40B4-BE49-F238E27FC236}">
                <a16:creationId xmlns:a16="http://schemas.microsoft.com/office/drawing/2014/main" id="{BF5247B1-38BC-3E17-5A0C-ED7CC0EB4AA0}"/>
              </a:ext>
            </a:extLst>
          </p:cNvPr>
          <p:cNvSpPr txBox="1">
            <a:spLocks/>
          </p:cNvSpPr>
          <p:nvPr/>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tx2"/>
                </a:solidFill>
                <a:latin typeface="Poppins" pitchFamily="2" charset="77"/>
                <a:cs typeface="Poppins" pitchFamily="2" charset="77"/>
              </a:rPr>
              <a:t>Earning</a:t>
            </a:r>
            <a:r>
              <a:rPr lang="es-MX" sz="800" b="1">
                <a:solidFill>
                  <a:schemeClr val="tx2"/>
                </a:solidFill>
                <a:latin typeface="Poppins" pitchFamily="2" charset="77"/>
                <a:cs typeface="Poppins" pitchFamily="2" charset="77"/>
              </a:rPr>
              <a:t> </a:t>
            </a:r>
            <a:r>
              <a:rPr lang="es-MX" sz="800" b="1" err="1">
                <a:solidFill>
                  <a:schemeClr val="tx2"/>
                </a:solidFill>
                <a:latin typeface="Poppins" pitchFamily="2" charset="77"/>
                <a:cs typeface="Poppins" pitchFamily="2" charset="77"/>
              </a:rPr>
              <a:t>Presentation</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First</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Quarter</a:t>
            </a:r>
            <a:r>
              <a:rPr lang="es-MX" sz="800" b="0">
                <a:solidFill>
                  <a:schemeClr val="tx2"/>
                </a:solidFill>
                <a:latin typeface="Poppins" pitchFamily="2" charset="77"/>
                <a:cs typeface="Poppins" pitchFamily="2" charset="77"/>
              </a:rPr>
              <a:t> 2025</a:t>
            </a:r>
            <a:endParaRPr lang="es-CL" sz="800" b="0">
              <a:solidFill>
                <a:schemeClr val="tx2"/>
              </a:solidFill>
              <a:latin typeface="Poppins" pitchFamily="2" charset="77"/>
              <a:cs typeface="Poppins" pitchFamily="2" charset="77"/>
            </a:endParaRPr>
          </a:p>
        </p:txBody>
      </p:sp>
    </p:spTree>
    <p:extLst>
      <p:ext uri="{BB962C8B-B14F-4D97-AF65-F5344CB8AC3E}">
        <p14:creationId xmlns:p14="http://schemas.microsoft.com/office/powerpoint/2010/main" val="14874407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6671726-3BCD-F3FA-F071-A4A61FC92580}"/>
              </a:ext>
            </a:extLst>
          </p:cNvPr>
          <p:cNvGraphicFramePr>
            <a:graphicFrameLocks noChangeAspect="1"/>
          </p:cNvGraphicFramePr>
          <p:nvPr>
            <p:custDataLst>
              <p:tags r:id="rId1"/>
            </p:custDataLst>
            <p:extLst>
              <p:ext uri="{D42A27DB-BD31-4B8C-83A1-F6EECF244321}">
                <p14:modId xmlns:p14="http://schemas.microsoft.com/office/powerpoint/2010/main" val="474187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27" imgW="395" imgH="396" progId="TCLayout.ActiveDocument.1">
                  <p:embed/>
                </p:oleObj>
              </mc:Choice>
              <mc:Fallback>
                <p:oleObj name="Diapositiva de think-cell" r:id="rId27" imgW="395" imgH="396" progId="TCLayout.ActiveDocument.1">
                  <p:embed/>
                  <p:pic>
                    <p:nvPicPr>
                      <p:cNvPr id="7" name="think-cell data - do not delete" hidden="1">
                        <a:extLst>
                          <a:ext uri="{FF2B5EF4-FFF2-40B4-BE49-F238E27FC236}">
                            <a16:creationId xmlns:a16="http://schemas.microsoft.com/office/drawing/2014/main" id="{D6671726-3BCD-F3FA-F071-A4A61FC92580}"/>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33" name="Redondear rectángulo de una esquina 4">
            <a:extLst>
              <a:ext uri="{FF2B5EF4-FFF2-40B4-BE49-F238E27FC236}">
                <a16:creationId xmlns:a16="http://schemas.microsoft.com/office/drawing/2014/main" id="{592F303F-291C-CFC1-63C5-68DFD1197046}"/>
              </a:ext>
            </a:extLst>
          </p:cNvPr>
          <p:cNvSpPr/>
          <p:nvPr/>
        </p:nvSpPr>
        <p:spPr>
          <a:xfrm flipH="1">
            <a:off x="0" y="5106080"/>
            <a:ext cx="12192000" cy="1765300"/>
          </a:xfrm>
          <a:prstGeom prst="round1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 name="Redondear rectángulo de esquina del mismo lado 50">
            <a:extLst>
              <a:ext uri="{FF2B5EF4-FFF2-40B4-BE49-F238E27FC236}">
                <a16:creationId xmlns:a16="http://schemas.microsoft.com/office/drawing/2014/main" id="{B08A3FF0-4983-27BB-54EA-18657BFABA81}"/>
              </a:ext>
            </a:extLst>
          </p:cNvPr>
          <p:cNvSpPr/>
          <p:nvPr>
            <p:custDataLst>
              <p:tags r:id="rId2"/>
            </p:custDataLst>
          </p:nvPr>
        </p:nvSpPr>
        <p:spPr>
          <a:xfrm rot="16200000">
            <a:off x="7000875" y="1420813"/>
            <a:ext cx="4424363" cy="5443538"/>
          </a:xfrm>
          <a:prstGeom prst="round2SameRect">
            <a:avLst>
              <a:gd name="adj1" fmla="val 5964"/>
              <a:gd name="adj2" fmla="val 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graphicFrame>
        <p:nvGraphicFramePr>
          <p:cNvPr id="36" name="Chart 3">
            <a:extLst>
              <a:ext uri="{FF2B5EF4-FFF2-40B4-BE49-F238E27FC236}">
                <a16:creationId xmlns:a16="http://schemas.microsoft.com/office/drawing/2014/main" id="{6C2A0A7B-49AE-59F9-1E22-2A8C66FB04C8}"/>
              </a:ext>
            </a:extLst>
          </p:cNvPr>
          <p:cNvGraphicFramePr/>
          <p:nvPr>
            <p:custDataLst>
              <p:tags r:id="rId3"/>
            </p:custDataLst>
            <p:extLst>
              <p:ext uri="{D42A27DB-BD31-4B8C-83A1-F6EECF244321}">
                <p14:modId xmlns:p14="http://schemas.microsoft.com/office/powerpoint/2010/main" val="2777271041"/>
              </p:ext>
            </p:extLst>
          </p:nvPr>
        </p:nvGraphicFramePr>
        <p:xfrm>
          <a:off x="7110413" y="2970213"/>
          <a:ext cx="4638675" cy="2400300"/>
        </p:xfrm>
        <a:graphic>
          <a:graphicData uri="http://schemas.openxmlformats.org/drawingml/2006/chart">
            <c:chart xmlns:c="http://schemas.openxmlformats.org/drawingml/2006/chart" xmlns:r="http://schemas.openxmlformats.org/officeDocument/2006/relationships" r:id="rId29"/>
          </a:graphicData>
        </a:graphic>
      </p:graphicFrame>
      <p:sp>
        <p:nvSpPr>
          <p:cNvPr id="5" name="Marcador de texto 2">
            <a:extLst>
              <a:ext uri="{FF2B5EF4-FFF2-40B4-BE49-F238E27FC236}">
                <a16:creationId xmlns:a16="http://schemas.microsoft.com/office/drawing/2014/main" id="{5B96047E-83F4-9D3B-AF5E-107A0AB0935C}"/>
              </a:ext>
            </a:extLst>
          </p:cNvPr>
          <p:cNvSpPr>
            <a:spLocks noGrp="1"/>
          </p:cNvSpPr>
          <p:nvPr>
            <p:custDataLst>
              <p:tags r:id="rId4"/>
            </p:custDataLst>
          </p:nvPr>
        </p:nvSpPr>
        <p:spPr bwMode="gray">
          <a:xfrm>
            <a:off x="7394575" y="2847975"/>
            <a:ext cx="547688"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25577A-BD0D-42BC-9445-F32814CC882B}" type="datetime'8''''''''''.''''''''''''''''''''''''''''7''''''''''''''''%'''">
              <a:rPr lang="es-CL" altLang="en-US" sz="1600" b="1" smtClean="0">
                <a:latin typeface="Montserrat" panose="00000500000000000000" pitchFamily="2" charset="0"/>
              </a:rPr>
              <a:pPr marL="0" indent="0" algn="ctr">
                <a:spcBef>
                  <a:spcPct val="0"/>
                </a:spcBef>
                <a:spcAft>
                  <a:spcPct val="0"/>
                </a:spcAft>
                <a:buNone/>
              </a:pPr>
              <a:t>8.7%</a:t>
            </a:fld>
            <a:endParaRPr lang="es-CL" sz="1600" b="1">
              <a:latin typeface="Montserrat" panose="00000500000000000000" pitchFamily="2" charset="0"/>
              <a:sym typeface="Montserrat" panose="00000500000000000000" pitchFamily="2" charset="0"/>
            </a:endParaRPr>
          </a:p>
        </p:txBody>
      </p:sp>
      <p:sp>
        <p:nvSpPr>
          <p:cNvPr id="6" name="Marcador de texto 2">
            <a:extLst>
              <a:ext uri="{FF2B5EF4-FFF2-40B4-BE49-F238E27FC236}">
                <a16:creationId xmlns:a16="http://schemas.microsoft.com/office/drawing/2014/main" id="{067BCAAA-FCCE-2A54-FE5A-56B7AD12B151}"/>
              </a:ext>
            </a:extLst>
          </p:cNvPr>
          <p:cNvSpPr>
            <a:spLocks noGrp="1"/>
          </p:cNvSpPr>
          <p:nvPr>
            <p:custDataLst>
              <p:tags r:id="rId5"/>
            </p:custDataLst>
          </p:nvPr>
        </p:nvSpPr>
        <p:spPr bwMode="gray">
          <a:xfrm>
            <a:off x="7929563" y="2817813"/>
            <a:ext cx="55562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BC85F40-3497-4DBB-9568-1C23E52AC5BB}" type="datetime'''''''''''''''''''''''''''8''''''''.''''8''''''''''''%'''''''">
              <a:rPr lang="es-CL" altLang="en-US" sz="1600" b="1" smtClean="0">
                <a:latin typeface="Montserrat" panose="00000500000000000000" pitchFamily="2" charset="0"/>
              </a:rPr>
              <a:pPr marL="0" indent="0" algn="ctr">
                <a:spcBef>
                  <a:spcPct val="0"/>
                </a:spcBef>
                <a:spcAft>
                  <a:spcPct val="0"/>
                </a:spcAft>
                <a:buNone/>
              </a:pPr>
              <a:t>8.8%</a:t>
            </a:fld>
            <a:endParaRPr lang="es-CL" sz="1600" b="1">
              <a:latin typeface="Montserrat" panose="00000500000000000000" pitchFamily="2" charset="0"/>
              <a:sym typeface="Montserrat" panose="00000500000000000000" pitchFamily="2" charset="0"/>
            </a:endParaRPr>
          </a:p>
        </p:txBody>
      </p:sp>
      <p:sp>
        <p:nvSpPr>
          <p:cNvPr id="11" name="Marcador de texto 2">
            <a:extLst>
              <a:ext uri="{FF2B5EF4-FFF2-40B4-BE49-F238E27FC236}">
                <a16:creationId xmlns:a16="http://schemas.microsoft.com/office/drawing/2014/main" id="{323E67C3-4B9A-021F-884F-DA0A964DC87E}"/>
              </a:ext>
            </a:extLst>
          </p:cNvPr>
          <p:cNvSpPr>
            <a:spLocks noGrp="1"/>
          </p:cNvSpPr>
          <p:nvPr>
            <p:custDataLst>
              <p:tags r:id="rId6"/>
            </p:custDataLst>
          </p:nvPr>
        </p:nvSpPr>
        <p:spPr bwMode="gray">
          <a:xfrm>
            <a:off x="8594724" y="2808288"/>
            <a:ext cx="552450"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AB6D4E-4527-4F67-A488-8355727F4DE1}" type="datetime'''''''''''''8''''''''.''''''''''''''''''''9''''''''''%'''''''">
              <a:rPr lang="es-CL" altLang="en-US" sz="1600" b="1" smtClean="0">
                <a:latin typeface="Montserrat" panose="00000500000000000000" pitchFamily="2" charset="0"/>
              </a:rPr>
              <a:pPr marL="0" indent="0" algn="ctr">
                <a:spcBef>
                  <a:spcPct val="0"/>
                </a:spcBef>
                <a:spcAft>
                  <a:spcPct val="0"/>
                </a:spcAft>
                <a:buNone/>
              </a:pPr>
              <a:t>8.9%</a:t>
            </a:fld>
            <a:endParaRPr lang="es-CL" sz="1600" b="1">
              <a:latin typeface="Montserrat" panose="00000500000000000000" pitchFamily="2" charset="0"/>
              <a:sym typeface="Montserrat" panose="00000500000000000000" pitchFamily="2" charset="0"/>
            </a:endParaRPr>
          </a:p>
        </p:txBody>
      </p:sp>
      <p:sp>
        <p:nvSpPr>
          <p:cNvPr id="12" name="Marcador de texto 2">
            <a:extLst>
              <a:ext uri="{FF2B5EF4-FFF2-40B4-BE49-F238E27FC236}">
                <a16:creationId xmlns:a16="http://schemas.microsoft.com/office/drawing/2014/main" id="{3629E269-B126-BAA8-B750-A51E3C746EBB}"/>
              </a:ext>
            </a:extLst>
          </p:cNvPr>
          <p:cNvSpPr>
            <a:spLocks noGrp="1"/>
          </p:cNvSpPr>
          <p:nvPr>
            <p:custDataLst>
              <p:tags r:id="rId7"/>
            </p:custDataLst>
          </p:nvPr>
        </p:nvSpPr>
        <p:spPr bwMode="gray">
          <a:xfrm>
            <a:off x="9053513" y="3070225"/>
            <a:ext cx="547688"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E7D0F57-C9FB-446A-8258-48726E3FE084}" type="datetime'''''''''''''''7''''''.''''''''''''''''''''''8''''%'''''">
              <a:rPr lang="es-CL" altLang="en-US" sz="1600" b="1" smtClean="0">
                <a:latin typeface="Montserrat" panose="00000500000000000000" pitchFamily="2" charset="0"/>
              </a:rPr>
              <a:pPr marL="0" indent="0" algn="ctr">
                <a:spcBef>
                  <a:spcPct val="0"/>
                </a:spcBef>
                <a:spcAft>
                  <a:spcPct val="0"/>
                </a:spcAft>
                <a:buNone/>
              </a:pPr>
              <a:t>7.8%</a:t>
            </a:fld>
            <a:endParaRPr lang="es-CL" sz="1600" b="1">
              <a:latin typeface="Montserrat" panose="00000500000000000000" pitchFamily="2" charset="0"/>
              <a:sym typeface="Montserrat" panose="00000500000000000000" pitchFamily="2" charset="0"/>
            </a:endParaRPr>
          </a:p>
        </p:txBody>
      </p:sp>
      <p:sp>
        <p:nvSpPr>
          <p:cNvPr id="13" name="Marcador de texto 2">
            <a:extLst>
              <a:ext uri="{FF2B5EF4-FFF2-40B4-BE49-F238E27FC236}">
                <a16:creationId xmlns:a16="http://schemas.microsoft.com/office/drawing/2014/main" id="{BD5E8216-3BD3-5372-5EF3-93871F125BEB}"/>
              </a:ext>
            </a:extLst>
          </p:cNvPr>
          <p:cNvSpPr>
            <a:spLocks noGrp="1"/>
          </p:cNvSpPr>
          <p:nvPr>
            <p:custDataLst>
              <p:tags r:id="rId8"/>
            </p:custDataLst>
          </p:nvPr>
        </p:nvSpPr>
        <p:spPr bwMode="gray">
          <a:xfrm>
            <a:off x="9640888" y="3124200"/>
            <a:ext cx="544513"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64C2AC-13C5-4CE7-9C1A-AB892CE4D9F2}" type="datetime'''''''7''''''.''''''''''6''''''''%'''''''''''''">
              <a:rPr lang="es-CL" altLang="en-US" sz="1600" b="1" smtClean="0">
                <a:latin typeface="Montserrat" panose="00000500000000000000" pitchFamily="2" charset="0"/>
              </a:rPr>
              <a:pPr marL="0" indent="0" algn="ctr">
                <a:spcBef>
                  <a:spcPct val="0"/>
                </a:spcBef>
                <a:spcAft>
                  <a:spcPct val="0"/>
                </a:spcAft>
                <a:buNone/>
              </a:pPr>
              <a:t>7.6%</a:t>
            </a:fld>
            <a:endParaRPr lang="es-CL" sz="1600" b="1">
              <a:latin typeface="Montserrat" panose="00000500000000000000" pitchFamily="2" charset="0"/>
              <a:sym typeface="Montserrat" panose="00000500000000000000" pitchFamily="2" charset="0"/>
            </a:endParaRPr>
          </a:p>
        </p:txBody>
      </p:sp>
      <p:sp>
        <p:nvSpPr>
          <p:cNvPr id="14" name="Marcador de texto 2">
            <a:extLst>
              <a:ext uri="{FF2B5EF4-FFF2-40B4-BE49-F238E27FC236}">
                <a16:creationId xmlns:a16="http://schemas.microsoft.com/office/drawing/2014/main" id="{88AC694A-8EFE-9FC6-1C22-72841EB70936}"/>
              </a:ext>
            </a:extLst>
          </p:cNvPr>
          <p:cNvSpPr>
            <a:spLocks noGrp="1"/>
          </p:cNvSpPr>
          <p:nvPr>
            <p:custDataLst>
              <p:tags r:id="rId9"/>
            </p:custDataLst>
          </p:nvPr>
        </p:nvSpPr>
        <p:spPr bwMode="gray">
          <a:xfrm>
            <a:off x="10172699" y="3282950"/>
            <a:ext cx="552450"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F12207D-103C-45B6-954B-E233F05949AC}" type="datetime'''''''''''''''''''7.''0''''''''''''''''''%'''''''''''''">
              <a:rPr lang="es-CL" altLang="en-US" sz="1600" b="1" smtClean="0">
                <a:latin typeface="Montserrat" panose="00000500000000000000" pitchFamily="2" charset="0"/>
              </a:rPr>
              <a:pPr marL="0" indent="0" algn="ctr">
                <a:spcBef>
                  <a:spcPct val="0"/>
                </a:spcBef>
                <a:spcAft>
                  <a:spcPct val="0"/>
                </a:spcAft>
                <a:buNone/>
              </a:pPr>
              <a:t>7.0%</a:t>
            </a:fld>
            <a:endParaRPr lang="es-CL" sz="1600" b="1">
              <a:latin typeface="Montserrat" panose="00000500000000000000" pitchFamily="2" charset="0"/>
              <a:sym typeface="Montserrat" panose="00000500000000000000" pitchFamily="2" charset="0"/>
            </a:endParaRPr>
          </a:p>
        </p:txBody>
      </p:sp>
      <p:sp>
        <p:nvSpPr>
          <p:cNvPr id="15" name="Marcador de texto 2">
            <a:extLst>
              <a:ext uri="{FF2B5EF4-FFF2-40B4-BE49-F238E27FC236}">
                <a16:creationId xmlns:a16="http://schemas.microsoft.com/office/drawing/2014/main" id="{5DD406B0-0480-9895-9CFA-021624003F63}"/>
              </a:ext>
            </a:extLst>
          </p:cNvPr>
          <p:cNvSpPr>
            <a:spLocks noGrp="1"/>
          </p:cNvSpPr>
          <p:nvPr>
            <p:custDataLst>
              <p:tags r:id="rId10"/>
            </p:custDataLst>
          </p:nvPr>
        </p:nvSpPr>
        <p:spPr bwMode="gray">
          <a:xfrm>
            <a:off x="10748963" y="2867025"/>
            <a:ext cx="547688"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33823E7-96A8-4CCB-BC49-689A26DD6BD0}" type="datetime'''''''''''''''8.''''''7''''%'''">
              <a:rPr lang="es-CL" altLang="en-US" sz="1600" b="1" smtClean="0">
                <a:latin typeface="Montserrat" panose="00000500000000000000" pitchFamily="2" charset="0"/>
              </a:rPr>
              <a:pPr marL="0" indent="0" algn="ctr">
                <a:spcBef>
                  <a:spcPct val="0"/>
                </a:spcBef>
                <a:spcAft>
                  <a:spcPct val="0"/>
                </a:spcAft>
                <a:buNone/>
              </a:pPr>
              <a:t>8.7%</a:t>
            </a:fld>
            <a:endParaRPr lang="es-CL" sz="1600" b="1">
              <a:latin typeface="Montserrat" panose="00000500000000000000" pitchFamily="2" charset="0"/>
              <a:sym typeface="Montserrat" panose="00000500000000000000" pitchFamily="2" charset="0"/>
            </a:endParaRPr>
          </a:p>
        </p:txBody>
      </p:sp>
      <p:sp>
        <p:nvSpPr>
          <p:cNvPr id="16" name="Marcador de texto 2">
            <a:extLst>
              <a:ext uri="{FF2B5EF4-FFF2-40B4-BE49-F238E27FC236}">
                <a16:creationId xmlns:a16="http://schemas.microsoft.com/office/drawing/2014/main" id="{24721483-781E-D48C-46EA-1508F36BB096}"/>
              </a:ext>
            </a:extLst>
          </p:cNvPr>
          <p:cNvSpPr>
            <a:spLocks noGrp="1"/>
          </p:cNvSpPr>
          <p:nvPr>
            <p:custDataLst>
              <p:tags r:id="rId11"/>
            </p:custDataLst>
          </p:nvPr>
        </p:nvSpPr>
        <p:spPr bwMode="gray">
          <a:xfrm>
            <a:off x="11283950" y="2817813"/>
            <a:ext cx="55562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96F374-8BA8-45D4-ADCB-1891538F7DA6}" type="datetime'''''''''''''''''''''''8''''.8''''''''''''%'''''''''''''''">
              <a:rPr lang="es-CL" altLang="en-US" sz="1600" b="1" smtClean="0">
                <a:latin typeface="Montserrat" panose="00000500000000000000" pitchFamily="2" charset="0"/>
              </a:rPr>
              <a:pPr marL="0" indent="0" algn="ctr">
                <a:spcBef>
                  <a:spcPct val="0"/>
                </a:spcBef>
                <a:spcAft>
                  <a:spcPct val="0"/>
                </a:spcAft>
                <a:buNone/>
              </a:pPr>
              <a:t>8.8%</a:t>
            </a:fld>
            <a:endParaRPr lang="es-CL" sz="1600" b="1">
              <a:latin typeface="Montserrat" panose="00000500000000000000" pitchFamily="2" charset="0"/>
              <a:sym typeface="Montserrat" panose="00000500000000000000" pitchFamily="2" charset="0"/>
            </a:endParaRPr>
          </a:p>
        </p:txBody>
      </p:sp>
      <p:sp>
        <p:nvSpPr>
          <p:cNvPr id="17" name="Rectángulo 16">
            <a:extLst>
              <a:ext uri="{FF2B5EF4-FFF2-40B4-BE49-F238E27FC236}">
                <a16:creationId xmlns:a16="http://schemas.microsoft.com/office/drawing/2014/main" id="{0A6F95A0-B8EA-543D-61B8-F4B8EA24B48C}"/>
              </a:ext>
            </a:extLst>
          </p:cNvPr>
          <p:cNvSpPr/>
          <p:nvPr>
            <p:custDataLst>
              <p:tags r:id="rId12"/>
            </p:custDataLst>
          </p:nvPr>
        </p:nvSpPr>
        <p:spPr bwMode="auto">
          <a:xfrm>
            <a:off x="8372475" y="2278063"/>
            <a:ext cx="285750" cy="214313"/>
          </a:xfrm>
          <a:prstGeom prst="rect">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8" name="Rectángulo 17">
            <a:extLst>
              <a:ext uri="{FF2B5EF4-FFF2-40B4-BE49-F238E27FC236}">
                <a16:creationId xmlns:a16="http://schemas.microsoft.com/office/drawing/2014/main" id="{43AF2ACE-FA92-38BD-2F92-CAE2090B9830}"/>
              </a:ext>
            </a:extLst>
          </p:cNvPr>
          <p:cNvSpPr/>
          <p:nvPr>
            <p:custDataLst>
              <p:tags r:id="rId13"/>
            </p:custDataLst>
          </p:nvPr>
        </p:nvSpPr>
        <p:spPr bwMode="auto">
          <a:xfrm>
            <a:off x="9302750" y="2278063"/>
            <a:ext cx="285750" cy="214313"/>
          </a:xfrm>
          <a:prstGeom prst="rect">
            <a:avLst/>
          </a:prstGeom>
          <a:solidFill>
            <a:schemeClr val="accent3"/>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9" name="Marcador de texto 2">
            <a:extLst>
              <a:ext uri="{FF2B5EF4-FFF2-40B4-BE49-F238E27FC236}">
                <a16:creationId xmlns:a16="http://schemas.microsoft.com/office/drawing/2014/main" id="{EAFB09D3-300F-A0CE-4515-4D06409C4023}"/>
              </a:ext>
            </a:extLst>
          </p:cNvPr>
          <p:cNvSpPr>
            <a:spLocks noGrp="1"/>
          </p:cNvSpPr>
          <p:nvPr>
            <p:custDataLst>
              <p:tags r:id="rId14"/>
            </p:custDataLst>
          </p:nvPr>
        </p:nvSpPr>
        <p:spPr bwMode="auto">
          <a:xfrm>
            <a:off x="8709025" y="2290763"/>
            <a:ext cx="49212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s-CL" altLang="en-US" sz="1600" b="1">
                <a:latin typeface="Montserrat" panose="00000500000000000000" pitchFamily="2" charset="0"/>
              </a:rPr>
              <a:t>1Q25</a:t>
            </a:r>
            <a:endParaRPr lang="es-CL" sz="1600" b="1">
              <a:latin typeface="Montserrat" panose="00000500000000000000" pitchFamily="2" charset="0"/>
              <a:sym typeface="Montserrat" panose="00000500000000000000" pitchFamily="2" charset="0"/>
            </a:endParaRPr>
          </a:p>
        </p:txBody>
      </p:sp>
      <p:sp>
        <p:nvSpPr>
          <p:cNvPr id="20" name="Marcador de texto 2">
            <a:extLst>
              <a:ext uri="{FF2B5EF4-FFF2-40B4-BE49-F238E27FC236}">
                <a16:creationId xmlns:a16="http://schemas.microsoft.com/office/drawing/2014/main" id="{63D07D72-F8A9-C138-7C59-A8F46A9F19DF}"/>
              </a:ext>
            </a:extLst>
          </p:cNvPr>
          <p:cNvSpPr>
            <a:spLocks noGrp="1"/>
          </p:cNvSpPr>
          <p:nvPr>
            <p:custDataLst>
              <p:tags r:id="rId15"/>
            </p:custDataLst>
          </p:nvPr>
        </p:nvSpPr>
        <p:spPr bwMode="auto">
          <a:xfrm>
            <a:off x="9639300" y="2290763"/>
            <a:ext cx="5111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s-CL" altLang="en-US" sz="1600" b="1">
                <a:latin typeface="Montserrat" panose="00000500000000000000" pitchFamily="2" charset="0"/>
              </a:rPr>
              <a:t>1Q24</a:t>
            </a:r>
            <a:endParaRPr lang="es-CL" sz="1600" b="1">
              <a:latin typeface="Montserrat" panose="00000500000000000000" pitchFamily="2" charset="0"/>
              <a:sym typeface="Montserrat" panose="00000500000000000000" pitchFamily="2" charset="0"/>
            </a:endParaRPr>
          </a:p>
        </p:txBody>
      </p:sp>
      <p:sp>
        <p:nvSpPr>
          <p:cNvPr id="22" name="Redondear rectángulo de esquina del mismo lado 51">
            <a:extLst>
              <a:ext uri="{FF2B5EF4-FFF2-40B4-BE49-F238E27FC236}">
                <a16:creationId xmlns:a16="http://schemas.microsoft.com/office/drawing/2014/main" id="{A36F0498-BC85-D29E-1325-EA48FA70FB6A}"/>
              </a:ext>
            </a:extLst>
          </p:cNvPr>
          <p:cNvSpPr/>
          <p:nvPr>
            <p:custDataLst>
              <p:tags r:id="rId16"/>
            </p:custDataLst>
          </p:nvPr>
        </p:nvSpPr>
        <p:spPr>
          <a:xfrm rot="16200000">
            <a:off x="8950325" y="-895350"/>
            <a:ext cx="534988" cy="5454650"/>
          </a:xfrm>
          <a:prstGeom prst="round2SameRect">
            <a:avLst>
              <a:gd name="adj1" fmla="val 25201"/>
              <a:gd name="adj2" fmla="val 0"/>
            </a:avLst>
          </a:prstGeom>
          <a:solidFill>
            <a:srgbClr val="82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3" name="Cuadro de texto 334">
            <a:extLst>
              <a:ext uri="{FF2B5EF4-FFF2-40B4-BE49-F238E27FC236}">
                <a16:creationId xmlns:a16="http://schemas.microsoft.com/office/drawing/2014/main" id="{E115D2AE-C188-8965-1106-4F0A58322D49}"/>
              </a:ext>
            </a:extLst>
          </p:cNvPr>
          <p:cNvSpPr txBox="1">
            <a:spLocks noChangeArrowheads="1"/>
          </p:cNvSpPr>
          <p:nvPr>
            <p:custDataLst>
              <p:tags r:id="rId17"/>
            </p:custDataLst>
          </p:nvPr>
        </p:nvSpPr>
        <p:spPr bwMode="auto">
          <a:xfrm>
            <a:off x="8038305" y="1652404"/>
            <a:ext cx="3713163"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r>
              <a:rPr lang="es-CL" sz="2000" b="1" err="1">
                <a:solidFill>
                  <a:schemeClr val="bg1"/>
                </a:solidFill>
                <a:latin typeface="Montserrat" pitchFamily="2" charset="77"/>
              </a:rPr>
              <a:t>Occupancy</a:t>
            </a:r>
            <a:r>
              <a:rPr lang="es-CL" sz="2000" b="1">
                <a:solidFill>
                  <a:schemeClr val="bg1"/>
                </a:solidFill>
                <a:latin typeface="Montserrat" pitchFamily="2" charset="77"/>
              </a:rPr>
              <a:t> </a:t>
            </a:r>
            <a:r>
              <a:rPr lang="es-CL" sz="2000" b="1" err="1">
                <a:solidFill>
                  <a:schemeClr val="bg1"/>
                </a:solidFill>
                <a:latin typeface="Montserrat" pitchFamily="2" charset="77"/>
              </a:rPr>
              <a:t>Cost</a:t>
            </a:r>
            <a:endParaRPr kumimoji="0" lang="es-CL" altLang="es-CL" sz="1100" b="1" i="0" u="none" strike="noStrike" cap="none" normalizeH="0" baseline="30000">
              <a:ln>
                <a:noFill/>
              </a:ln>
              <a:solidFill>
                <a:schemeClr val="bg1"/>
              </a:solidFill>
              <a:effectLst/>
              <a:latin typeface="Montserrat" pitchFamily="2" charset="77"/>
            </a:endParaRPr>
          </a:p>
        </p:txBody>
      </p:sp>
      <p:sp>
        <p:nvSpPr>
          <p:cNvPr id="24" name="CuadroTexto 23">
            <a:extLst>
              <a:ext uri="{FF2B5EF4-FFF2-40B4-BE49-F238E27FC236}">
                <a16:creationId xmlns:a16="http://schemas.microsoft.com/office/drawing/2014/main" id="{AE78BB7C-B211-4C8E-D391-E9A90833CB89}"/>
              </a:ext>
            </a:extLst>
          </p:cNvPr>
          <p:cNvSpPr txBox="1"/>
          <p:nvPr>
            <p:custDataLst>
              <p:tags r:id="rId18"/>
            </p:custDataLst>
          </p:nvPr>
        </p:nvSpPr>
        <p:spPr>
          <a:xfrm>
            <a:off x="7585075" y="5414877"/>
            <a:ext cx="768350" cy="338138"/>
          </a:xfrm>
          <a:prstGeom prst="rect">
            <a:avLst/>
          </a:prstGeom>
          <a:noFill/>
        </p:spPr>
        <p:txBody>
          <a:bodyPr wrap="square" rtlCol="0">
            <a:spAutoFit/>
          </a:bodyPr>
          <a:lstStyle/>
          <a:p>
            <a:r>
              <a:rPr lang="es-CL" sz="1600">
                <a:latin typeface="Montserrat" panose="00000500000000000000" pitchFamily="2" charset="0"/>
              </a:rPr>
              <a:t>Chile</a:t>
            </a:r>
          </a:p>
        </p:txBody>
      </p:sp>
      <p:pic>
        <p:nvPicPr>
          <p:cNvPr id="25" name="Imagen 24">
            <a:extLst>
              <a:ext uri="{FF2B5EF4-FFF2-40B4-BE49-F238E27FC236}">
                <a16:creationId xmlns:a16="http://schemas.microsoft.com/office/drawing/2014/main" id="{0CE1485D-BEA2-1CCC-3994-99208FBDE79B}"/>
              </a:ext>
            </a:extLst>
          </p:cNvPr>
          <p:cNvPicPr>
            <a:picLocks noChangeAspect="1"/>
          </p:cNvPicPr>
          <p:nvPr>
            <p:custDataLst>
              <p:tags r:id="rId19"/>
            </p:custDataLst>
          </p:nvPr>
        </p:nvPicPr>
        <p:blipFill>
          <a:blip r:embed="rId30" cstate="screen">
            <a:extLst>
              <a:ext uri="{28A0092B-C50C-407E-A947-70E740481C1C}">
                <a14:useLocalDpi xmlns:a14="http://schemas.microsoft.com/office/drawing/2010/main"/>
              </a:ext>
            </a:extLst>
          </a:blip>
          <a:stretch>
            <a:fillRect/>
          </a:stretch>
        </p:blipFill>
        <p:spPr>
          <a:xfrm>
            <a:off x="7727950" y="5783178"/>
            <a:ext cx="418859" cy="368300"/>
          </a:xfrm>
          <a:prstGeom prst="rect">
            <a:avLst/>
          </a:prstGeom>
        </p:spPr>
      </p:pic>
      <p:pic>
        <p:nvPicPr>
          <p:cNvPr id="26" name="Imagen 25">
            <a:extLst>
              <a:ext uri="{FF2B5EF4-FFF2-40B4-BE49-F238E27FC236}">
                <a16:creationId xmlns:a16="http://schemas.microsoft.com/office/drawing/2014/main" id="{F69F793D-52A0-FAF8-5ACA-8FEBDDB43BE5}"/>
              </a:ext>
            </a:extLst>
          </p:cNvPr>
          <p:cNvPicPr>
            <a:picLocks noChangeAspect="1"/>
          </p:cNvPicPr>
          <p:nvPr>
            <p:custDataLst>
              <p:tags r:id="rId20"/>
            </p:custDataLst>
          </p:nvPr>
        </p:nvPicPr>
        <p:blipFill>
          <a:blip r:embed="rId31" cstate="screen">
            <a:extLst>
              <a:ext uri="{28A0092B-C50C-407E-A947-70E740481C1C}">
                <a14:useLocalDpi xmlns:a14="http://schemas.microsoft.com/office/drawing/2010/main"/>
              </a:ext>
            </a:extLst>
          </a:blip>
          <a:stretch>
            <a:fillRect/>
          </a:stretch>
        </p:blipFill>
        <p:spPr>
          <a:xfrm>
            <a:off x="8848943" y="5783972"/>
            <a:ext cx="419109" cy="366713"/>
          </a:xfrm>
          <a:prstGeom prst="rect">
            <a:avLst/>
          </a:prstGeom>
        </p:spPr>
      </p:pic>
      <p:pic>
        <p:nvPicPr>
          <p:cNvPr id="27" name="Imagen 26">
            <a:extLst>
              <a:ext uri="{FF2B5EF4-FFF2-40B4-BE49-F238E27FC236}">
                <a16:creationId xmlns:a16="http://schemas.microsoft.com/office/drawing/2014/main" id="{48758308-3B80-D38E-70A1-553F60304E4E}"/>
              </a:ext>
            </a:extLst>
          </p:cNvPr>
          <p:cNvPicPr>
            <a:picLocks noChangeAspect="1"/>
          </p:cNvPicPr>
          <p:nvPr>
            <p:custDataLst>
              <p:tags r:id="rId21"/>
            </p:custDataLst>
          </p:nvPr>
        </p:nvPicPr>
        <p:blipFill>
          <a:blip r:embed="rId32" cstate="screen">
            <a:extLst>
              <a:ext uri="{28A0092B-C50C-407E-A947-70E740481C1C}">
                <a14:useLocalDpi xmlns:a14="http://schemas.microsoft.com/office/drawing/2010/main"/>
              </a:ext>
            </a:extLst>
          </a:blip>
          <a:stretch>
            <a:fillRect/>
          </a:stretch>
        </p:blipFill>
        <p:spPr>
          <a:xfrm>
            <a:off x="9952373" y="5783971"/>
            <a:ext cx="496087" cy="368300"/>
          </a:xfrm>
          <a:prstGeom prst="rect">
            <a:avLst/>
          </a:prstGeom>
        </p:spPr>
      </p:pic>
      <p:cxnSp>
        <p:nvCxnSpPr>
          <p:cNvPr id="28" name="Conector recto 27">
            <a:extLst>
              <a:ext uri="{FF2B5EF4-FFF2-40B4-BE49-F238E27FC236}">
                <a16:creationId xmlns:a16="http://schemas.microsoft.com/office/drawing/2014/main" id="{7B9BA542-7FCF-A6FE-7E00-D290571E028B}"/>
              </a:ext>
            </a:extLst>
          </p:cNvPr>
          <p:cNvCxnSpPr>
            <a:cxnSpLocks/>
          </p:cNvCxnSpPr>
          <p:nvPr/>
        </p:nvCxnSpPr>
        <p:spPr>
          <a:xfrm>
            <a:off x="10721975" y="3095625"/>
            <a:ext cx="0" cy="2185988"/>
          </a:xfrm>
          <a:prstGeom prst="line">
            <a:avLst/>
          </a:prstGeom>
          <a:ln/>
        </p:spPr>
        <p:style>
          <a:lnRef idx="1">
            <a:schemeClr val="accent2"/>
          </a:lnRef>
          <a:fillRef idx="0">
            <a:schemeClr val="accent2"/>
          </a:fillRef>
          <a:effectRef idx="0">
            <a:schemeClr val="accent2"/>
          </a:effectRef>
          <a:fontRef idx="minor">
            <a:schemeClr val="tx1"/>
          </a:fontRef>
        </p:style>
      </p:cxnSp>
      <p:sp>
        <p:nvSpPr>
          <p:cNvPr id="29" name="CuadroTexto 28">
            <a:extLst>
              <a:ext uri="{FF2B5EF4-FFF2-40B4-BE49-F238E27FC236}">
                <a16:creationId xmlns:a16="http://schemas.microsoft.com/office/drawing/2014/main" id="{57A96C27-4A39-0B14-E7D6-B462E03686CF}"/>
              </a:ext>
            </a:extLst>
          </p:cNvPr>
          <p:cNvSpPr txBox="1"/>
          <p:nvPr>
            <p:custDataLst>
              <p:tags r:id="rId22"/>
            </p:custDataLst>
          </p:nvPr>
        </p:nvSpPr>
        <p:spPr>
          <a:xfrm>
            <a:off x="10831158" y="5414877"/>
            <a:ext cx="1157288" cy="338138"/>
          </a:xfrm>
          <a:prstGeom prst="rect">
            <a:avLst/>
          </a:prstGeom>
          <a:noFill/>
        </p:spPr>
        <p:txBody>
          <a:bodyPr wrap="square" rtlCol="0">
            <a:spAutoFit/>
          </a:bodyPr>
          <a:lstStyle/>
          <a:p>
            <a:r>
              <a:rPr lang="es-CL" sz="1600">
                <a:latin typeface="Montserrat" panose="00000500000000000000" pitchFamily="2" charset="0"/>
              </a:rPr>
              <a:t>Consol.</a:t>
            </a:r>
          </a:p>
        </p:txBody>
      </p:sp>
      <p:sp>
        <p:nvSpPr>
          <p:cNvPr id="30" name="CuadroTexto 29">
            <a:extLst>
              <a:ext uri="{FF2B5EF4-FFF2-40B4-BE49-F238E27FC236}">
                <a16:creationId xmlns:a16="http://schemas.microsoft.com/office/drawing/2014/main" id="{BD05B8E3-5CAB-F8C7-053E-3A568A413E9C}"/>
              </a:ext>
            </a:extLst>
          </p:cNvPr>
          <p:cNvSpPr txBox="1"/>
          <p:nvPr>
            <p:custDataLst>
              <p:tags r:id="rId23"/>
            </p:custDataLst>
          </p:nvPr>
        </p:nvSpPr>
        <p:spPr>
          <a:xfrm>
            <a:off x="9610727" y="5414877"/>
            <a:ext cx="1193800" cy="339725"/>
          </a:xfrm>
          <a:prstGeom prst="rect">
            <a:avLst/>
          </a:prstGeom>
          <a:noFill/>
        </p:spPr>
        <p:txBody>
          <a:bodyPr wrap="square" rtlCol="0">
            <a:spAutoFit/>
          </a:bodyPr>
          <a:lstStyle/>
          <a:p>
            <a:r>
              <a:rPr lang="es-CL" sz="1600">
                <a:latin typeface="Montserrat" panose="00000500000000000000" pitchFamily="2" charset="0"/>
              </a:rPr>
              <a:t>Colombia</a:t>
            </a:r>
          </a:p>
        </p:txBody>
      </p:sp>
      <p:sp>
        <p:nvSpPr>
          <p:cNvPr id="31" name="CuadroTexto 30">
            <a:extLst>
              <a:ext uri="{FF2B5EF4-FFF2-40B4-BE49-F238E27FC236}">
                <a16:creationId xmlns:a16="http://schemas.microsoft.com/office/drawing/2014/main" id="{7F63668B-7CC3-9744-BE36-109DF91AD4EA}"/>
              </a:ext>
            </a:extLst>
          </p:cNvPr>
          <p:cNvSpPr txBox="1"/>
          <p:nvPr>
            <p:custDataLst>
              <p:tags r:id="rId24"/>
            </p:custDataLst>
          </p:nvPr>
        </p:nvSpPr>
        <p:spPr>
          <a:xfrm>
            <a:off x="8721943" y="5414877"/>
            <a:ext cx="847725" cy="338138"/>
          </a:xfrm>
          <a:prstGeom prst="rect">
            <a:avLst/>
          </a:prstGeom>
          <a:noFill/>
        </p:spPr>
        <p:txBody>
          <a:bodyPr wrap="square" rtlCol="0">
            <a:spAutoFit/>
          </a:bodyPr>
          <a:lstStyle/>
          <a:p>
            <a:r>
              <a:rPr lang="es-CL" sz="1600" err="1">
                <a:latin typeface="Montserrat" panose="00000500000000000000" pitchFamily="2" charset="0"/>
              </a:rPr>
              <a:t>Peru</a:t>
            </a:r>
            <a:endParaRPr lang="es-CL" sz="1600">
              <a:latin typeface="Montserrat" panose="00000500000000000000" pitchFamily="2" charset="0"/>
            </a:endParaRPr>
          </a:p>
        </p:txBody>
      </p:sp>
      <p:pic>
        <p:nvPicPr>
          <p:cNvPr id="32" name="Imagen 31">
            <a:extLst>
              <a:ext uri="{FF2B5EF4-FFF2-40B4-BE49-F238E27FC236}">
                <a16:creationId xmlns:a16="http://schemas.microsoft.com/office/drawing/2014/main" id="{AF7D8118-2D9E-5A63-96EB-2475C79AF496}"/>
              </a:ext>
            </a:extLst>
          </p:cNvPr>
          <p:cNvPicPr>
            <a:picLocks noChangeAspect="1"/>
          </p:cNvPicPr>
          <p:nvPr/>
        </p:nvPicPr>
        <p:blipFill>
          <a:blip r:embed="rId33"/>
          <a:stretch>
            <a:fillRect/>
          </a:stretch>
        </p:blipFill>
        <p:spPr>
          <a:xfrm>
            <a:off x="10672574" y="5849854"/>
            <a:ext cx="1224000" cy="221110"/>
          </a:xfrm>
          <a:prstGeom prst="rect">
            <a:avLst/>
          </a:prstGeom>
        </p:spPr>
      </p:pic>
      <p:sp>
        <p:nvSpPr>
          <p:cNvPr id="37" name="Redondear rectángulo de esquina del mismo lado 25">
            <a:extLst>
              <a:ext uri="{FF2B5EF4-FFF2-40B4-BE49-F238E27FC236}">
                <a16:creationId xmlns:a16="http://schemas.microsoft.com/office/drawing/2014/main" id="{7C65B210-8547-028D-D2BC-823CC4BEDDF7}"/>
              </a:ext>
            </a:extLst>
          </p:cNvPr>
          <p:cNvSpPr/>
          <p:nvPr/>
        </p:nvSpPr>
        <p:spPr>
          <a:xfrm rot="10800000">
            <a:off x="599165" y="2843505"/>
            <a:ext cx="1162705" cy="596019"/>
          </a:xfrm>
          <a:prstGeom prst="round2SameRect">
            <a:avLst>
              <a:gd name="adj1" fmla="val 24111"/>
              <a:gd name="adj2" fmla="val 5448"/>
            </a:avLst>
          </a:prstGeom>
          <a:solidFill>
            <a:srgbClr val="82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8" name="Rectángulo redondeado 35">
            <a:extLst>
              <a:ext uri="{FF2B5EF4-FFF2-40B4-BE49-F238E27FC236}">
                <a16:creationId xmlns:a16="http://schemas.microsoft.com/office/drawing/2014/main" id="{6CBA2249-020F-54D5-FB27-C89C12EA7F5A}"/>
              </a:ext>
            </a:extLst>
          </p:cNvPr>
          <p:cNvSpPr/>
          <p:nvPr/>
        </p:nvSpPr>
        <p:spPr>
          <a:xfrm>
            <a:off x="4844978" y="2828166"/>
            <a:ext cx="1350542" cy="592249"/>
          </a:xfrm>
          <a:prstGeom prst="roundRect">
            <a:avLst>
              <a:gd name="adj" fmla="val 5622"/>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9" name="Rectángulo redondeado 35">
            <a:extLst>
              <a:ext uri="{FF2B5EF4-FFF2-40B4-BE49-F238E27FC236}">
                <a16:creationId xmlns:a16="http://schemas.microsoft.com/office/drawing/2014/main" id="{D9DB4E9F-D54A-D737-7929-0FCBA6BE8CEB}"/>
              </a:ext>
            </a:extLst>
          </p:cNvPr>
          <p:cNvSpPr/>
          <p:nvPr/>
        </p:nvSpPr>
        <p:spPr>
          <a:xfrm>
            <a:off x="3382355" y="2828166"/>
            <a:ext cx="1350542" cy="592250"/>
          </a:xfrm>
          <a:prstGeom prst="roundRect">
            <a:avLst>
              <a:gd name="adj" fmla="val 5622"/>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0" name="Rectángulo redondeado 35">
            <a:extLst>
              <a:ext uri="{FF2B5EF4-FFF2-40B4-BE49-F238E27FC236}">
                <a16:creationId xmlns:a16="http://schemas.microsoft.com/office/drawing/2014/main" id="{D5D6E826-E0D3-8418-D2D1-609C11BC78EB}"/>
              </a:ext>
            </a:extLst>
          </p:cNvPr>
          <p:cNvSpPr/>
          <p:nvPr/>
        </p:nvSpPr>
        <p:spPr>
          <a:xfrm>
            <a:off x="1919731" y="2828166"/>
            <a:ext cx="1350542" cy="592251"/>
          </a:xfrm>
          <a:prstGeom prst="roundRect">
            <a:avLst>
              <a:gd name="adj" fmla="val 5622"/>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1" name="Rectángulo redondeado 35">
            <a:extLst>
              <a:ext uri="{FF2B5EF4-FFF2-40B4-BE49-F238E27FC236}">
                <a16:creationId xmlns:a16="http://schemas.microsoft.com/office/drawing/2014/main" id="{F6E4B8B5-A645-9A31-FCFB-E59029D28D4C}"/>
              </a:ext>
            </a:extLst>
          </p:cNvPr>
          <p:cNvSpPr/>
          <p:nvPr/>
        </p:nvSpPr>
        <p:spPr>
          <a:xfrm>
            <a:off x="4844978" y="2168299"/>
            <a:ext cx="1350542" cy="592249"/>
          </a:xfrm>
          <a:prstGeom prst="roundRect">
            <a:avLst>
              <a:gd name="adj" fmla="val 5622"/>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2" name="Rectángulo redondeado 35">
            <a:extLst>
              <a:ext uri="{FF2B5EF4-FFF2-40B4-BE49-F238E27FC236}">
                <a16:creationId xmlns:a16="http://schemas.microsoft.com/office/drawing/2014/main" id="{190CD982-3032-FA49-360B-1BD57D45BD2E}"/>
              </a:ext>
            </a:extLst>
          </p:cNvPr>
          <p:cNvSpPr/>
          <p:nvPr/>
        </p:nvSpPr>
        <p:spPr>
          <a:xfrm>
            <a:off x="3382293" y="2168299"/>
            <a:ext cx="1350542" cy="592250"/>
          </a:xfrm>
          <a:prstGeom prst="roundRect">
            <a:avLst>
              <a:gd name="adj" fmla="val 5622"/>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3" name="Rectángulo redondeado 35">
            <a:extLst>
              <a:ext uri="{FF2B5EF4-FFF2-40B4-BE49-F238E27FC236}">
                <a16:creationId xmlns:a16="http://schemas.microsoft.com/office/drawing/2014/main" id="{C3933C73-95CB-1311-7A7E-A0926049745A}"/>
              </a:ext>
            </a:extLst>
          </p:cNvPr>
          <p:cNvSpPr/>
          <p:nvPr/>
        </p:nvSpPr>
        <p:spPr>
          <a:xfrm>
            <a:off x="1919731" y="2168299"/>
            <a:ext cx="1350418" cy="592251"/>
          </a:xfrm>
          <a:prstGeom prst="roundRect">
            <a:avLst>
              <a:gd name="adj" fmla="val 5622"/>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4" name="Redondear rectángulo de esquina del mismo lado 25">
            <a:extLst>
              <a:ext uri="{FF2B5EF4-FFF2-40B4-BE49-F238E27FC236}">
                <a16:creationId xmlns:a16="http://schemas.microsoft.com/office/drawing/2014/main" id="{6BDB48A2-1F73-941B-0E25-5658015278EF}"/>
              </a:ext>
            </a:extLst>
          </p:cNvPr>
          <p:cNvSpPr/>
          <p:nvPr/>
        </p:nvSpPr>
        <p:spPr>
          <a:xfrm>
            <a:off x="594880" y="2168647"/>
            <a:ext cx="1168433" cy="596019"/>
          </a:xfrm>
          <a:prstGeom prst="round2SameRect">
            <a:avLst>
              <a:gd name="adj1" fmla="val 24111"/>
              <a:gd name="adj2" fmla="val 544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5" name="Cuadro de texto 334">
            <a:extLst>
              <a:ext uri="{FF2B5EF4-FFF2-40B4-BE49-F238E27FC236}">
                <a16:creationId xmlns:a16="http://schemas.microsoft.com/office/drawing/2014/main" id="{8C65319F-1504-A4AA-9DF6-83063ED8FA24}"/>
              </a:ext>
            </a:extLst>
          </p:cNvPr>
          <p:cNvSpPr txBox="1">
            <a:spLocks noChangeArrowheads="1"/>
          </p:cNvSpPr>
          <p:nvPr/>
        </p:nvSpPr>
        <p:spPr bwMode="auto">
          <a:xfrm>
            <a:off x="808701" y="2270442"/>
            <a:ext cx="771829" cy="38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r>
              <a:rPr lang="es-CL" sz="2400" b="1">
                <a:solidFill>
                  <a:schemeClr val="bg1"/>
                </a:solidFill>
                <a:latin typeface="Montserrat" pitchFamily="2" charset="77"/>
              </a:rPr>
              <a:t>SSS </a:t>
            </a:r>
            <a:endParaRPr kumimoji="0" lang="es-CL" altLang="es-CL" sz="1200" b="1" i="0" u="none" strike="noStrike" cap="none" normalizeH="0" baseline="30000">
              <a:ln>
                <a:noFill/>
              </a:ln>
              <a:solidFill>
                <a:schemeClr val="bg1"/>
              </a:solidFill>
              <a:effectLst/>
              <a:latin typeface="Montserrat" pitchFamily="2" charset="77"/>
            </a:endParaRPr>
          </a:p>
        </p:txBody>
      </p:sp>
      <p:pic>
        <p:nvPicPr>
          <p:cNvPr id="46" name="Imagen 45">
            <a:extLst>
              <a:ext uri="{FF2B5EF4-FFF2-40B4-BE49-F238E27FC236}">
                <a16:creationId xmlns:a16="http://schemas.microsoft.com/office/drawing/2014/main" id="{AEA66CA1-0CE2-AA53-94CB-E6AB27B6A7A0}"/>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2294823" y="1662223"/>
            <a:ext cx="518802" cy="463760"/>
          </a:xfrm>
          <a:prstGeom prst="rect">
            <a:avLst/>
          </a:prstGeom>
        </p:spPr>
      </p:pic>
      <p:sp>
        <p:nvSpPr>
          <p:cNvPr id="47" name="Cuadro de texto 334">
            <a:extLst>
              <a:ext uri="{FF2B5EF4-FFF2-40B4-BE49-F238E27FC236}">
                <a16:creationId xmlns:a16="http://schemas.microsoft.com/office/drawing/2014/main" id="{190E0BD8-E456-B19D-EA46-561B0AE56E50}"/>
              </a:ext>
            </a:extLst>
          </p:cNvPr>
          <p:cNvSpPr txBox="1">
            <a:spLocks noChangeArrowheads="1"/>
          </p:cNvSpPr>
          <p:nvPr/>
        </p:nvSpPr>
        <p:spPr bwMode="auto">
          <a:xfrm>
            <a:off x="1714749" y="2247289"/>
            <a:ext cx="1742274" cy="557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ct val="0"/>
              </a:spcAft>
            </a:pPr>
            <a:r>
              <a:rPr lang="es-CL" altLang="es-CL" sz="2400" b="1">
                <a:solidFill>
                  <a:schemeClr val="accent1"/>
                </a:solidFill>
                <a:latin typeface="Montserrat" pitchFamily="2" charset="77"/>
                <a:cs typeface="Calibri" panose="020F0502020204030204" pitchFamily="34" charset="0"/>
              </a:rPr>
              <a:t>+7.6% </a:t>
            </a:r>
            <a:r>
              <a:rPr lang="es-CL" altLang="es-CL" sz="2400" b="1" baseline="30000">
                <a:solidFill>
                  <a:schemeClr val="accent1"/>
                </a:solidFill>
                <a:latin typeface="Montserrat" pitchFamily="2" charset="77"/>
                <a:cs typeface="Calibri" panose="020F0502020204030204" pitchFamily="34" charset="0"/>
              </a:rPr>
              <a:t>(1)</a:t>
            </a:r>
          </a:p>
        </p:txBody>
      </p:sp>
      <p:pic>
        <p:nvPicPr>
          <p:cNvPr id="48" name="Imagen 47">
            <a:extLst>
              <a:ext uri="{FF2B5EF4-FFF2-40B4-BE49-F238E27FC236}">
                <a16:creationId xmlns:a16="http://schemas.microsoft.com/office/drawing/2014/main" id="{BC1DFDF6-871A-9428-E2D1-1E0CE6FDA023}"/>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3806171" y="1618449"/>
            <a:ext cx="518802" cy="461486"/>
          </a:xfrm>
          <a:prstGeom prst="rect">
            <a:avLst/>
          </a:prstGeom>
        </p:spPr>
      </p:pic>
      <p:pic>
        <p:nvPicPr>
          <p:cNvPr id="49" name="Imagen 48">
            <a:extLst>
              <a:ext uri="{FF2B5EF4-FFF2-40B4-BE49-F238E27FC236}">
                <a16:creationId xmlns:a16="http://schemas.microsoft.com/office/drawing/2014/main" id="{AB3CE6F8-2030-56C5-C152-38956353BE7F}"/>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5212051" y="1614713"/>
            <a:ext cx="616395" cy="465223"/>
          </a:xfrm>
          <a:prstGeom prst="rect">
            <a:avLst/>
          </a:prstGeom>
        </p:spPr>
      </p:pic>
      <p:sp>
        <p:nvSpPr>
          <p:cNvPr id="50" name="Cuadro de texto 334">
            <a:extLst>
              <a:ext uri="{FF2B5EF4-FFF2-40B4-BE49-F238E27FC236}">
                <a16:creationId xmlns:a16="http://schemas.microsoft.com/office/drawing/2014/main" id="{6FAFC467-3DBE-39D3-2A05-82BC4B9C60EA}"/>
              </a:ext>
            </a:extLst>
          </p:cNvPr>
          <p:cNvSpPr txBox="1">
            <a:spLocks noChangeArrowheads="1"/>
          </p:cNvSpPr>
          <p:nvPr/>
        </p:nvSpPr>
        <p:spPr bwMode="auto">
          <a:xfrm>
            <a:off x="4875005" y="2251115"/>
            <a:ext cx="1350542" cy="557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ct val="0"/>
              </a:spcAft>
            </a:pPr>
            <a:r>
              <a:rPr lang="es-CL" altLang="es-CL" sz="2400" b="1">
                <a:solidFill>
                  <a:schemeClr val="accent1"/>
                </a:solidFill>
                <a:latin typeface="Montserrat" pitchFamily="2" charset="77"/>
                <a:cs typeface="Calibri" panose="020F0502020204030204" pitchFamily="34" charset="0"/>
              </a:rPr>
              <a:t>1.5%</a:t>
            </a:r>
          </a:p>
        </p:txBody>
      </p:sp>
      <p:sp>
        <p:nvSpPr>
          <p:cNvPr id="51" name="Cuadro de texto 334">
            <a:extLst>
              <a:ext uri="{FF2B5EF4-FFF2-40B4-BE49-F238E27FC236}">
                <a16:creationId xmlns:a16="http://schemas.microsoft.com/office/drawing/2014/main" id="{EA2CE2BD-B485-5775-FE95-A8F523DAA5E6}"/>
              </a:ext>
            </a:extLst>
          </p:cNvPr>
          <p:cNvSpPr txBox="1">
            <a:spLocks noChangeArrowheads="1"/>
          </p:cNvSpPr>
          <p:nvPr/>
        </p:nvSpPr>
        <p:spPr bwMode="auto">
          <a:xfrm>
            <a:off x="3392367" y="2248542"/>
            <a:ext cx="1330394" cy="557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ct val="0"/>
              </a:spcAft>
            </a:pPr>
            <a:r>
              <a:rPr lang="es-CL" altLang="es-CL" sz="2400" b="1">
                <a:solidFill>
                  <a:schemeClr val="accent1"/>
                </a:solidFill>
                <a:latin typeface="Montserrat" pitchFamily="2" charset="77"/>
                <a:cs typeface="Calibri" panose="020F0502020204030204" pitchFamily="34" charset="0"/>
              </a:rPr>
              <a:t>+0.7%</a:t>
            </a:r>
          </a:p>
        </p:txBody>
      </p:sp>
      <p:sp>
        <p:nvSpPr>
          <p:cNvPr id="52" name="Cuadro de texto 334">
            <a:extLst>
              <a:ext uri="{FF2B5EF4-FFF2-40B4-BE49-F238E27FC236}">
                <a16:creationId xmlns:a16="http://schemas.microsoft.com/office/drawing/2014/main" id="{E8C236AA-360D-3578-8A8C-23EA749E988E}"/>
              </a:ext>
            </a:extLst>
          </p:cNvPr>
          <p:cNvSpPr txBox="1">
            <a:spLocks noChangeArrowheads="1"/>
          </p:cNvSpPr>
          <p:nvPr/>
        </p:nvSpPr>
        <p:spPr bwMode="auto">
          <a:xfrm>
            <a:off x="776329" y="2915147"/>
            <a:ext cx="1018177" cy="388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r>
              <a:rPr lang="es-CL" sz="2400" b="1">
                <a:solidFill>
                  <a:schemeClr val="bg1"/>
                </a:solidFill>
                <a:latin typeface="Montserrat" pitchFamily="2" charset="77"/>
              </a:rPr>
              <a:t>SSR </a:t>
            </a:r>
            <a:endParaRPr kumimoji="0" lang="es-CL" altLang="es-CL" sz="1200" b="1" i="0" u="none" strike="noStrike" cap="none" normalizeH="0" baseline="30000">
              <a:ln>
                <a:noFill/>
              </a:ln>
              <a:solidFill>
                <a:schemeClr val="bg1"/>
              </a:solidFill>
              <a:effectLst/>
              <a:latin typeface="Montserrat" pitchFamily="2" charset="77"/>
            </a:endParaRPr>
          </a:p>
        </p:txBody>
      </p:sp>
      <p:sp>
        <p:nvSpPr>
          <p:cNvPr id="53" name="Cuadro de texto 334">
            <a:extLst>
              <a:ext uri="{FF2B5EF4-FFF2-40B4-BE49-F238E27FC236}">
                <a16:creationId xmlns:a16="http://schemas.microsoft.com/office/drawing/2014/main" id="{0930C043-C403-DA17-39F3-40E7708B00A3}"/>
              </a:ext>
            </a:extLst>
          </p:cNvPr>
          <p:cNvSpPr txBox="1">
            <a:spLocks noChangeArrowheads="1"/>
          </p:cNvSpPr>
          <p:nvPr/>
        </p:nvSpPr>
        <p:spPr bwMode="auto">
          <a:xfrm>
            <a:off x="1802280" y="2896728"/>
            <a:ext cx="1494213" cy="553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ct val="0"/>
              </a:spcAft>
            </a:pPr>
            <a:r>
              <a:rPr lang="es-CL" altLang="es-CL" sz="2400" b="1">
                <a:solidFill>
                  <a:schemeClr val="accent1"/>
                </a:solidFill>
                <a:latin typeface="Montserrat" pitchFamily="2" charset="77"/>
                <a:cs typeface="Calibri" panose="020F0502020204030204" pitchFamily="34" charset="0"/>
              </a:rPr>
              <a:t>+8.8% </a:t>
            </a:r>
            <a:r>
              <a:rPr lang="es-CL" altLang="es-CL" sz="2400" b="1" baseline="30000">
                <a:solidFill>
                  <a:schemeClr val="accent1"/>
                </a:solidFill>
                <a:latin typeface="Montserrat" pitchFamily="2" charset="77"/>
                <a:cs typeface="Calibri" panose="020F0502020204030204" pitchFamily="34" charset="0"/>
              </a:rPr>
              <a:t>(1)</a:t>
            </a:r>
          </a:p>
        </p:txBody>
      </p:sp>
      <p:sp>
        <p:nvSpPr>
          <p:cNvPr id="54" name="Cuadro de texto 334">
            <a:extLst>
              <a:ext uri="{FF2B5EF4-FFF2-40B4-BE49-F238E27FC236}">
                <a16:creationId xmlns:a16="http://schemas.microsoft.com/office/drawing/2014/main" id="{29E53A45-9CC3-79E9-C9F4-176B68041D40}"/>
              </a:ext>
            </a:extLst>
          </p:cNvPr>
          <p:cNvSpPr txBox="1">
            <a:spLocks noChangeArrowheads="1"/>
          </p:cNvSpPr>
          <p:nvPr/>
        </p:nvSpPr>
        <p:spPr bwMode="auto">
          <a:xfrm>
            <a:off x="4686158" y="2867025"/>
            <a:ext cx="1602965" cy="553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ct val="0"/>
              </a:spcAft>
            </a:pPr>
            <a:r>
              <a:rPr lang="es-CL" altLang="es-CL" sz="2400" b="1">
                <a:solidFill>
                  <a:schemeClr val="accent1"/>
                </a:solidFill>
                <a:latin typeface="Montserrat" pitchFamily="2" charset="77"/>
                <a:cs typeface="Calibri" panose="020F0502020204030204" pitchFamily="34" charset="0"/>
              </a:rPr>
              <a:t>+5.2%</a:t>
            </a:r>
          </a:p>
        </p:txBody>
      </p:sp>
      <p:sp>
        <p:nvSpPr>
          <p:cNvPr id="55" name="Cuadro de texto 334">
            <a:extLst>
              <a:ext uri="{FF2B5EF4-FFF2-40B4-BE49-F238E27FC236}">
                <a16:creationId xmlns:a16="http://schemas.microsoft.com/office/drawing/2014/main" id="{1E867E73-0862-F1B5-FEF0-9F6F118F16DC}"/>
              </a:ext>
            </a:extLst>
          </p:cNvPr>
          <p:cNvSpPr txBox="1">
            <a:spLocks noChangeArrowheads="1"/>
          </p:cNvSpPr>
          <p:nvPr/>
        </p:nvSpPr>
        <p:spPr bwMode="auto">
          <a:xfrm>
            <a:off x="3322333" y="2877369"/>
            <a:ext cx="1468632" cy="553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ct val="0"/>
              </a:spcAft>
            </a:pPr>
            <a:r>
              <a:rPr lang="es-CL" altLang="es-CL" sz="2400" b="1">
                <a:solidFill>
                  <a:schemeClr val="accent1"/>
                </a:solidFill>
                <a:latin typeface="Montserrat" pitchFamily="2" charset="77"/>
                <a:cs typeface="Calibri" panose="020F0502020204030204" pitchFamily="34" charset="0"/>
              </a:rPr>
              <a:t>-2.1%</a:t>
            </a:r>
          </a:p>
        </p:txBody>
      </p:sp>
      <p:sp>
        <p:nvSpPr>
          <p:cNvPr id="57" name="CuadroTexto 56">
            <a:extLst>
              <a:ext uri="{FF2B5EF4-FFF2-40B4-BE49-F238E27FC236}">
                <a16:creationId xmlns:a16="http://schemas.microsoft.com/office/drawing/2014/main" id="{B77D1674-79FC-8311-A857-D1E5F84DFB98}"/>
              </a:ext>
            </a:extLst>
          </p:cNvPr>
          <p:cNvSpPr txBox="1"/>
          <p:nvPr/>
        </p:nvSpPr>
        <p:spPr>
          <a:xfrm>
            <a:off x="205231" y="6614877"/>
            <a:ext cx="9055207" cy="246221"/>
          </a:xfrm>
          <a:prstGeom prst="rect">
            <a:avLst/>
          </a:prstGeom>
          <a:noFill/>
        </p:spPr>
        <p:txBody>
          <a:bodyPr wrap="square" rtlCol="0">
            <a:spAutoFit/>
          </a:bodyPr>
          <a:lstStyle/>
          <a:p>
            <a:pPr algn="just"/>
            <a:r>
              <a:rPr lang="es-CL" sz="1000" baseline="30000">
                <a:solidFill>
                  <a:schemeClr val="tx1">
                    <a:lumMod val="75000"/>
                  </a:schemeClr>
                </a:solidFill>
                <a:latin typeface="Montserrat" panose="00000500000000000000" pitchFamily="2" charset="0"/>
                <a:ea typeface="Times New Roman" panose="02020603050405020304" pitchFamily="18" charset="0"/>
                <a:cs typeface="Poppins" panose="00000500000000000000" pitchFamily="2" charset="0"/>
              </a:rPr>
              <a:t>(1)</a:t>
            </a:r>
            <a:r>
              <a:rPr lang="es-CL" sz="1000">
                <a:solidFill>
                  <a:schemeClr val="tx1">
                    <a:lumMod val="75000"/>
                  </a:schemeClr>
                </a:solidFill>
                <a:latin typeface="Montserrat" panose="00000500000000000000" pitchFamily="2" charset="0"/>
                <a:ea typeface="Times New Roman" panose="02020603050405020304" pitchFamily="18" charset="0"/>
                <a:cs typeface="Poppins" panose="00000500000000000000" pitchFamily="2" charset="0"/>
              </a:rPr>
              <a:t> </a:t>
            </a:r>
            <a:r>
              <a:rPr lang="en-US" sz="1000">
                <a:solidFill>
                  <a:schemeClr val="tx1">
                    <a:lumMod val="75000"/>
                  </a:schemeClr>
                </a:solidFill>
                <a:latin typeface="Montserrat" panose="00000500000000000000" pitchFamily="2" charset="0"/>
                <a:ea typeface="Times New Roman" panose="02020603050405020304" pitchFamily="18" charset="0"/>
                <a:cs typeface="Poppins" panose="00000500000000000000" pitchFamily="2" charset="0"/>
              </a:rPr>
              <a:t>Figures in local currencies (CLP, PEN and COP, respectively). In UF, the SSS would be 2.8%, while the SSR would be 4.0%.</a:t>
            </a:r>
            <a:endParaRPr lang="es-CL" sz="1000">
              <a:solidFill>
                <a:schemeClr val="tx1">
                  <a:lumMod val="75000"/>
                </a:schemeClr>
              </a:solidFill>
              <a:latin typeface="Montserrat" panose="00000500000000000000" pitchFamily="2" charset="0"/>
              <a:ea typeface="Times New Roman" panose="02020603050405020304" pitchFamily="18" charset="0"/>
              <a:cs typeface="Poppins" panose="00000500000000000000" pitchFamily="2" charset="0"/>
            </a:endParaRPr>
          </a:p>
        </p:txBody>
      </p:sp>
      <p:pic>
        <p:nvPicPr>
          <p:cNvPr id="59" name="Imagen 58">
            <a:extLst>
              <a:ext uri="{FF2B5EF4-FFF2-40B4-BE49-F238E27FC236}">
                <a16:creationId xmlns:a16="http://schemas.microsoft.com/office/drawing/2014/main" id="{CFDA125E-3C80-A721-01E5-5427B25C68CE}"/>
              </a:ext>
            </a:extLst>
          </p:cNvPr>
          <p:cNvPicPr>
            <a:picLocks noChangeAspect="1"/>
          </p:cNvPicPr>
          <p:nvPr/>
        </p:nvPicPr>
        <p:blipFill>
          <a:blip r:embed="rId34" cstate="screen">
            <a:extLst>
              <a:ext uri="{28A0092B-C50C-407E-A947-70E740481C1C}">
                <a14:useLocalDpi xmlns:a14="http://schemas.microsoft.com/office/drawing/2010/main"/>
              </a:ext>
            </a:extLst>
          </a:blip>
          <a:srcRect/>
          <a:stretch>
            <a:fillRect/>
          </a:stretch>
        </p:blipFill>
        <p:spPr>
          <a:xfrm>
            <a:off x="2205599" y="3512350"/>
            <a:ext cx="3716570" cy="2797144"/>
          </a:xfrm>
          <a:custGeom>
            <a:avLst/>
            <a:gdLst>
              <a:gd name="connsiteX0" fmla="*/ 185756 w 2153815"/>
              <a:gd name="connsiteY0" fmla="*/ 0 h 1620992"/>
              <a:gd name="connsiteX1" fmla="*/ 1968059 w 2153815"/>
              <a:gd name="connsiteY1" fmla="*/ 0 h 1620992"/>
              <a:gd name="connsiteX2" fmla="*/ 2005488 w 2153815"/>
              <a:gd name="connsiteY2" fmla="*/ 3773 h 1620992"/>
              <a:gd name="connsiteX3" fmla="*/ 2153815 w 2153815"/>
              <a:gd name="connsiteY3" fmla="*/ 185765 h 1620992"/>
              <a:gd name="connsiteX4" fmla="*/ 2153815 w 2153815"/>
              <a:gd name="connsiteY4" fmla="*/ 1435226 h 1620992"/>
              <a:gd name="connsiteX5" fmla="*/ 1968049 w 2153815"/>
              <a:gd name="connsiteY5" fmla="*/ 1620992 h 1620992"/>
              <a:gd name="connsiteX6" fmla="*/ 185766 w 2153815"/>
              <a:gd name="connsiteY6" fmla="*/ 1620992 h 1620992"/>
              <a:gd name="connsiteX7" fmla="*/ 0 w 2153815"/>
              <a:gd name="connsiteY7" fmla="*/ 1435226 h 1620992"/>
              <a:gd name="connsiteX8" fmla="*/ 0 w 2153815"/>
              <a:gd name="connsiteY8" fmla="*/ 185765 h 1620992"/>
              <a:gd name="connsiteX9" fmla="*/ 148328 w 2153815"/>
              <a:gd name="connsiteY9" fmla="*/ 3773 h 162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3815" h="1620992">
                <a:moveTo>
                  <a:pt x="185756" y="0"/>
                </a:moveTo>
                <a:lnTo>
                  <a:pt x="1968059" y="0"/>
                </a:lnTo>
                <a:lnTo>
                  <a:pt x="2005488" y="3773"/>
                </a:lnTo>
                <a:cubicBezTo>
                  <a:pt x="2090138" y="21095"/>
                  <a:pt x="2153815" y="95994"/>
                  <a:pt x="2153815" y="185765"/>
                </a:cubicBezTo>
                <a:lnTo>
                  <a:pt x="2153815" y="1435226"/>
                </a:lnTo>
                <a:cubicBezTo>
                  <a:pt x="2153815" y="1537822"/>
                  <a:pt x="2070645" y="1620992"/>
                  <a:pt x="1968049" y="1620992"/>
                </a:cubicBezTo>
                <a:lnTo>
                  <a:pt x="185766" y="1620992"/>
                </a:lnTo>
                <a:cubicBezTo>
                  <a:pt x="83170" y="1620992"/>
                  <a:pt x="0" y="1537822"/>
                  <a:pt x="0" y="1435226"/>
                </a:cubicBezTo>
                <a:lnTo>
                  <a:pt x="0" y="185765"/>
                </a:lnTo>
                <a:cubicBezTo>
                  <a:pt x="0" y="95994"/>
                  <a:pt x="63677" y="21095"/>
                  <a:pt x="148328" y="3773"/>
                </a:cubicBezTo>
                <a:close/>
              </a:path>
            </a:pathLst>
          </a:custGeom>
        </p:spPr>
      </p:pic>
      <p:sp>
        <p:nvSpPr>
          <p:cNvPr id="4" name="CuadroTexto 3">
            <a:extLst>
              <a:ext uri="{FF2B5EF4-FFF2-40B4-BE49-F238E27FC236}">
                <a16:creationId xmlns:a16="http://schemas.microsoft.com/office/drawing/2014/main" id="{6A7F2D4C-73BB-7B71-EB56-C0970BC21EF1}"/>
              </a:ext>
            </a:extLst>
          </p:cNvPr>
          <p:cNvSpPr txBox="1"/>
          <p:nvPr/>
        </p:nvSpPr>
        <p:spPr>
          <a:xfrm>
            <a:off x="491796" y="207049"/>
            <a:ext cx="9566606" cy="1015663"/>
          </a:xfrm>
          <a:prstGeom prst="rect">
            <a:avLst/>
          </a:prstGeom>
          <a:noFill/>
        </p:spPr>
        <p:txBody>
          <a:bodyPr wrap="square" rtlCol="0">
            <a:spAutoFit/>
          </a:bodyPr>
          <a:lstStyle/>
          <a:p>
            <a:r>
              <a:rPr lang="es-CL" sz="3000" b="1">
                <a:solidFill>
                  <a:schemeClr val="accent3"/>
                </a:solidFill>
                <a:latin typeface="Poppins" pitchFamily="2" charset="77"/>
                <a:cs typeface="Poppins" pitchFamily="2" charset="77"/>
              </a:rPr>
              <a:t>2.7 </a:t>
            </a:r>
            <a:r>
              <a:rPr kumimoji="0" lang="en-US" sz="3000" b="1" i="0" u="none" strike="noStrike" kern="1200" cap="none" spc="0" normalizeH="0" baseline="0" noProof="0">
                <a:ln>
                  <a:noFill/>
                </a:ln>
                <a:solidFill>
                  <a:schemeClr val="tx2"/>
                </a:solidFill>
                <a:effectLst/>
                <a:uLnTx/>
                <a:uFillTx/>
                <a:latin typeface="Poppins" pitchFamily="2" charset="77"/>
                <a:cs typeface="Poppins" pitchFamily="2" charset="77"/>
              </a:rPr>
              <a:t>Reduction in Occupancy Cost Due to Improved Sales in Chile</a:t>
            </a:r>
            <a:endParaRPr kumimoji="0" lang="es-CL" sz="3000" b="1" i="0" u="none" strike="noStrike" kern="1200" cap="none" spc="0" normalizeH="0" baseline="0" noProof="0">
              <a:ln>
                <a:noFill/>
              </a:ln>
              <a:solidFill>
                <a:schemeClr val="tx2"/>
              </a:solidFill>
              <a:effectLst/>
              <a:uLnTx/>
              <a:uFillTx/>
              <a:latin typeface="Poppins" pitchFamily="2" charset="77"/>
              <a:cs typeface="Poppins" pitchFamily="2" charset="77"/>
            </a:endParaRPr>
          </a:p>
        </p:txBody>
      </p:sp>
      <p:sp>
        <p:nvSpPr>
          <p:cNvPr id="9" name="Marcador de número de diapositiva 1">
            <a:extLst>
              <a:ext uri="{FF2B5EF4-FFF2-40B4-BE49-F238E27FC236}">
                <a16:creationId xmlns:a16="http://schemas.microsoft.com/office/drawing/2014/main" id="{B21F7771-47AC-D11A-213B-D3BF64955180}"/>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15</a:t>
            </a:fld>
            <a:endParaRPr lang="es-CL"/>
          </a:p>
        </p:txBody>
      </p:sp>
      <p:sp>
        <p:nvSpPr>
          <p:cNvPr id="2" name="Título 1">
            <a:extLst>
              <a:ext uri="{FF2B5EF4-FFF2-40B4-BE49-F238E27FC236}">
                <a16:creationId xmlns:a16="http://schemas.microsoft.com/office/drawing/2014/main" id="{9D861AAF-F4CA-80B2-B321-9D74F33678B5}"/>
              </a:ext>
            </a:extLst>
          </p:cNvPr>
          <p:cNvSpPr txBox="1">
            <a:spLocks/>
          </p:cNvSpPr>
          <p:nvPr/>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tx2"/>
                </a:solidFill>
                <a:latin typeface="Poppins" pitchFamily="2" charset="77"/>
                <a:cs typeface="Poppins" pitchFamily="2" charset="77"/>
              </a:rPr>
              <a:t>Earning</a:t>
            </a:r>
            <a:r>
              <a:rPr lang="es-MX" sz="800" b="1">
                <a:solidFill>
                  <a:schemeClr val="tx2"/>
                </a:solidFill>
                <a:latin typeface="Poppins" pitchFamily="2" charset="77"/>
                <a:cs typeface="Poppins" pitchFamily="2" charset="77"/>
              </a:rPr>
              <a:t> </a:t>
            </a:r>
            <a:r>
              <a:rPr lang="es-MX" sz="800" b="1" err="1">
                <a:solidFill>
                  <a:schemeClr val="tx2"/>
                </a:solidFill>
                <a:latin typeface="Poppins" pitchFamily="2" charset="77"/>
                <a:cs typeface="Poppins" pitchFamily="2" charset="77"/>
              </a:rPr>
              <a:t>Presentation</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First</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Quarter</a:t>
            </a:r>
            <a:r>
              <a:rPr lang="es-MX" sz="800" b="0">
                <a:solidFill>
                  <a:schemeClr val="tx2"/>
                </a:solidFill>
                <a:latin typeface="Poppins" pitchFamily="2" charset="77"/>
                <a:cs typeface="Poppins" pitchFamily="2" charset="77"/>
              </a:rPr>
              <a:t> 2025</a:t>
            </a:r>
            <a:endParaRPr lang="es-CL" sz="800" b="0">
              <a:solidFill>
                <a:schemeClr val="tx2"/>
              </a:solidFill>
              <a:latin typeface="Poppins" pitchFamily="2" charset="77"/>
              <a:cs typeface="Poppins" pitchFamily="2" charset="77"/>
            </a:endParaRPr>
          </a:p>
        </p:txBody>
      </p:sp>
    </p:spTree>
    <p:extLst>
      <p:ext uri="{BB962C8B-B14F-4D97-AF65-F5344CB8AC3E}">
        <p14:creationId xmlns:p14="http://schemas.microsoft.com/office/powerpoint/2010/main" val="17605133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6671726-3BCD-F3FA-F071-A4A61FC92580}"/>
              </a:ext>
            </a:extLst>
          </p:cNvPr>
          <p:cNvGraphicFramePr>
            <a:graphicFrameLocks noChangeAspect="1"/>
          </p:cNvGraphicFramePr>
          <p:nvPr>
            <p:custDataLst>
              <p:tags r:id="rId1"/>
            </p:custDataLst>
            <p:extLst>
              <p:ext uri="{D42A27DB-BD31-4B8C-83A1-F6EECF244321}">
                <p14:modId xmlns:p14="http://schemas.microsoft.com/office/powerpoint/2010/main" val="289002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6" progId="TCLayout.ActiveDocument.1">
                  <p:embed/>
                </p:oleObj>
              </mc:Choice>
              <mc:Fallback>
                <p:oleObj name="Diapositiva de think-cell" r:id="rId4" imgW="395" imgH="396" progId="TCLayout.ActiveDocument.1">
                  <p:embed/>
                  <p:pic>
                    <p:nvPicPr>
                      <p:cNvPr id="7" name="think-cell data - do not delete" hidden="1">
                        <a:extLst>
                          <a:ext uri="{FF2B5EF4-FFF2-40B4-BE49-F238E27FC236}">
                            <a16:creationId xmlns:a16="http://schemas.microsoft.com/office/drawing/2014/main" id="{D6671726-3BCD-F3FA-F071-A4A61FC925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dondear rectángulo de una esquina 6">
            <a:extLst>
              <a:ext uri="{FF2B5EF4-FFF2-40B4-BE49-F238E27FC236}">
                <a16:creationId xmlns:a16="http://schemas.microsoft.com/office/drawing/2014/main" id="{9D919E6C-BE55-886B-FB97-E9448AFFAD8E}"/>
              </a:ext>
            </a:extLst>
          </p:cNvPr>
          <p:cNvSpPr/>
          <p:nvPr/>
        </p:nvSpPr>
        <p:spPr>
          <a:xfrm>
            <a:off x="685187" y="1140402"/>
            <a:ext cx="6062954" cy="5093702"/>
          </a:xfrm>
          <a:prstGeom prst="roundRect">
            <a:avLst>
              <a:gd name="adj" fmla="val 552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4" name="Imagen 3">
            <a:extLst>
              <a:ext uri="{FF2B5EF4-FFF2-40B4-BE49-F238E27FC236}">
                <a16:creationId xmlns:a16="http://schemas.microsoft.com/office/drawing/2014/main" id="{2DCF7DF3-403E-5F20-A789-7FDACB68A4FD}"/>
              </a:ext>
            </a:extLst>
          </p:cNvPr>
          <p:cNvPicPr>
            <a:picLocks noChangeAspect="1"/>
          </p:cNvPicPr>
          <p:nvPr/>
        </p:nvPicPr>
        <p:blipFill>
          <a:blip r:embed="rId6"/>
          <a:srcRect r="27910" b="20530"/>
          <a:stretch/>
        </p:blipFill>
        <p:spPr>
          <a:xfrm>
            <a:off x="8864285" y="2598174"/>
            <a:ext cx="3327715" cy="4339277"/>
          </a:xfrm>
          <a:prstGeom prst="rect">
            <a:avLst/>
          </a:prstGeom>
        </p:spPr>
      </p:pic>
      <p:sp>
        <p:nvSpPr>
          <p:cNvPr id="14" name="Cuadro de texto 336">
            <a:extLst>
              <a:ext uri="{FF2B5EF4-FFF2-40B4-BE49-F238E27FC236}">
                <a16:creationId xmlns:a16="http://schemas.microsoft.com/office/drawing/2014/main" id="{18D47C41-52C2-31A3-29D5-822D74B62AF2}"/>
              </a:ext>
            </a:extLst>
          </p:cNvPr>
          <p:cNvSpPr txBox="1">
            <a:spLocks noChangeArrowheads="1"/>
          </p:cNvSpPr>
          <p:nvPr/>
        </p:nvSpPr>
        <p:spPr bwMode="auto">
          <a:xfrm>
            <a:off x="518136" y="2127936"/>
            <a:ext cx="3459221" cy="1382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lgn="ctr" eaLnBrk="0" fontAlgn="base" hangingPunct="0">
              <a:spcBef>
                <a:spcPct val="0"/>
              </a:spcBef>
              <a:spcAft>
                <a:spcPct val="0"/>
              </a:spcAft>
            </a:pPr>
            <a:r>
              <a:rPr lang="es-CL" sz="4000" b="1">
                <a:solidFill>
                  <a:schemeClr val="tx2"/>
                </a:solidFill>
                <a:latin typeface="Poppins" pitchFamily="2" charset="77"/>
                <a:cs typeface="Poppins" pitchFamily="2" charset="77"/>
              </a:rPr>
              <a:t>98.2%</a:t>
            </a:r>
            <a:br>
              <a:rPr lang="es-CL" altLang="es-CL" sz="4000">
                <a:solidFill>
                  <a:schemeClr val="tx2"/>
                </a:solidFill>
                <a:latin typeface="Poppins" pitchFamily="2" charset="77"/>
                <a:cs typeface="Poppins" pitchFamily="2" charset="77"/>
              </a:rPr>
            </a:br>
            <a:r>
              <a:rPr lang="es-CL" altLang="es-CL" sz="1400" b="1" err="1">
                <a:solidFill>
                  <a:schemeClr val="tx2"/>
                </a:solidFill>
                <a:latin typeface="Poppins" pitchFamily="2" charset="77"/>
                <a:cs typeface="Poppins" pitchFamily="2" charset="77"/>
              </a:rPr>
              <a:t>Occupancy</a:t>
            </a:r>
            <a:r>
              <a:rPr lang="es-CL" altLang="es-CL" sz="1400" b="1">
                <a:solidFill>
                  <a:schemeClr val="tx2"/>
                </a:solidFill>
                <a:latin typeface="Poppins" pitchFamily="2" charset="77"/>
                <a:cs typeface="Poppins" pitchFamily="2" charset="77"/>
              </a:rPr>
              <a:t> </a:t>
            </a:r>
            <a:r>
              <a:rPr lang="es-CL" altLang="es-CL" sz="1400" b="1" err="1">
                <a:solidFill>
                  <a:schemeClr val="tx2"/>
                </a:solidFill>
                <a:latin typeface="Poppins" pitchFamily="2" charset="77"/>
                <a:cs typeface="Poppins" pitchFamily="2" charset="77"/>
              </a:rPr>
              <a:t>Rate</a:t>
            </a:r>
            <a:br>
              <a:rPr lang="es-CL" altLang="es-CL" sz="1300" b="1">
                <a:solidFill>
                  <a:schemeClr val="tx2"/>
                </a:solidFill>
                <a:latin typeface="Poppins" pitchFamily="2" charset="77"/>
                <a:cs typeface="Poppins" pitchFamily="2" charset="77"/>
              </a:rPr>
            </a:br>
            <a:r>
              <a:rPr lang="es-CL" altLang="es-CL" sz="1300" b="1">
                <a:solidFill>
                  <a:schemeClr val="tx2"/>
                </a:solidFill>
                <a:latin typeface="Poppins" pitchFamily="2" charset="77"/>
                <a:cs typeface="Poppins" pitchFamily="2" charset="77"/>
              </a:rPr>
              <a:t>-5 bps vs 1Q24</a:t>
            </a:r>
          </a:p>
        </p:txBody>
      </p:sp>
      <p:sp>
        <p:nvSpPr>
          <p:cNvPr id="15" name="Cuadro de texto 338">
            <a:extLst>
              <a:ext uri="{FF2B5EF4-FFF2-40B4-BE49-F238E27FC236}">
                <a16:creationId xmlns:a16="http://schemas.microsoft.com/office/drawing/2014/main" id="{05ED091A-F71A-859B-F8CE-2063216E4FCC}"/>
              </a:ext>
            </a:extLst>
          </p:cNvPr>
          <p:cNvSpPr txBox="1">
            <a:spLocks noChangeArrowheads="1"/>
          </p:cNvSpPr>
          <p:nvPr/>
        </p:nvSpPr>
        <p:spPr bwMode="auto">
          <a:xfrm>
            <a:off x="3288920" y="2089598"/>
            <a:ext cx="3459221" cy="1382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ct val="0"/>
              </a:spcAft>
            </a:pPr>
            <a:r>
              <a:rPr lang="es-CL" sz="3600" b="1">
                <a:solidFill>
                  <a:schemeClr val="tx2"/>
                </a:solidFill>
                <a:latin typeface="Poppins" pitchFamily="2" charset="77"/>
                <a:cs typeface="Poppins" pitchFamily="2" charset="77"/>
              </a:rPr>
              <a:t>+2.7% </a:t>
            </a:r>
            <a:r>
              <a:rPr lang="es-CL" sz="2400" b="1" err="1">
                <a:solidFill>
                  <a:schemeClr val="tx2"/>
                </a:solidFill>
                <a:latin typeface="Poppins" pitchFamily="2" charset="77"/>
                <a:cs typeface="Poppins" pitchFamily="2" charset="77"/>
              </a:rPr>
              <a:t>YoY</a:t>
            </a:r>
            <a:br>
              <a:rPr lang="es-CL" altLang="es-CL" sz="3600">
                <a:solidFill>
                  <a:schemeClr val="tx2"/>
                </a:solidFill>
                <a:latin typeface="Poppins" pitchFamily="2" charset="77"/>
                <a:cs typeface="Poppins" pitchFamily="2" charset="77"/>
              </a:rPr>
            </a:br>
            <a:r>
              <a:rPr lang="es-CL" altLang="es-CL" sz="1400" b="1" err="1">
                <a:solidFill>
                  <a:schemeClr val="tx2"/>
                </a:solidFill>
                <a:latin typeface="Poppins" pitchFamily="2" charset="77"/>
                <a:cs typeface="Poppins" pitchFamily="2" charset="77"/>
              </a:rPr>
              <a:t>Visits</a:t>
            </a:r>
            <a:endParaRPr lang="es-CL" altLang="es-CL" sz="1400" b="1">
              <a:solidFill>
                <a:schemeClr val="tx2"/>
              </a:solidFill>
              <a:latin typeface="Poppins" pitchFamily="2" charset="77"/>
              <a:cs typeface="Poppins" pitchFamily="2" charset="77"/>
            </a:endParaRPr>
          </a:p>
          <a:p>
            <a:pPr algn="ctr" eaLnBrk="0" fontAlgn="base" hangingPunct="0">
              <a:spcBef>
                <a:spcPct val="0"/>
              </a:spcBef>
              <a:spcAft>
                <a:spcPct val="0"/>
              </a:spcAft>
            </a:pPr>
            <a:r>
              <a:rPr lang="es-CL" altLang="es-CL" sz="1400" b="1">
                <a:solidFill>
                  <a:schemeClr val="tx2"/>
                </a:solidFill>
                <a:latin typeface="Poppins" pitchFamily="2" charset="77"/>
                <a:cs typeface="Poppins" pitchFamily="2" charset="77"/>
              </a:rPr>
              <a:t>~32,500 </a:t>
            </a:r>
            <a:r>
              <a:rPr lang="es-CL" altLang="es-CL" sz="1400" b="1" err="1">
                <a:solidFill>
                  <a:schemeClr val="tx2"/>
                </a:solidFill>
                <a:latin typeface="Poppins" pitchFamily="2" charset="77"/>
                <a:cs typeface="Poppins" pitchFamily="2" charset="77"/>
              </a:rPr>
              <a:t>million</a:t>
            </a:r>
            <a:r>
              <a:rPr lang="es-CL" altLang="es-CL" sz="1400" b="1">
                <a:solidFill>
                  <a:schemeClr val="tx2"/>
                </a:solidFill>
                <a:latin typeface="Poppins" pitchFamily="2" charset="77"/>
                <a:cs typeface="Poppins" pitchFamily="2" charset="77"/>
              </a:rPr>
              <a:t> 1Q25</a:t>
            </a:r>
          </a:p>
        </p:txBody>
      </p:sp>
      <p:sp>
        <p:nvSpPr>
          <p:cNvPr id="16" name="Cuadro de texto 336">
            <a:extLst>
              <a:ext uri="{FF2B5EF4-FFF2-40B4-BE49-F238E27FC236}">
                <a16:creationId xmlns:a16="http://schemas.microsoft.com/office/drawing/2014/main" id="{E5A450CC-13FC-687E-730D-74DE6A286DDC}"/>
              </a:ext>
            </a:extLst>
          </p:cNvPr>
          <p:cNvSpPr txBox="1">
            <a:spLocks noChangeArrowheads="1"/>
          </p:cNvSpPr>
          <p:nvPr/>
        </p:nvSpPr>
        <p:spPr bwMode="auto">
          <a:xfrm>
            <a:off x="657156" y="4761454"/>
            <a:ext cx="3181183" cy="1143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lgn="ctr" eaLnBrk="0" fontAlgn="base" hangingPunct="0">
              <a:spcBef>
                <a:spcPct val="0"/>
              </a:spcBef>
              <a:spcAft>
                <a:spcPct val="0"/>
              </a:spcAft>
            </a:pPr>
            <a:r>
              <a:rPr lang="es-CL" sz="4000" b="1">
                <a:solidFill>
                  <a:schemeClr val="tx2"/>
                </a:solidFill>
                <a:latin typeface="Poppins" pitchFamily="2" charset="77"/>
                <a:cs typeface="Poppins" pitchFamily="2" charset="77"/>
              </a:rPr>
              <a:t>+10.2%</a:t>
            </a:r>
          </a:p>
          <a:p>
            <a:pPr lvl="0" algn="ctr" eaLnBrk="0" fontAlgn="base" hangingPunct="0">
              <a:spcBef>
                <a:spcPct val="0"/>
              </a:spcBef>
              <a:spcAft>
                <a:spcPct val="0"/>
              </a:spcAft>
            </a:pPr>
            <a:r>
              <a:rPr lang="es-CL" altLang="es-CL" sz="1400" b="1" err="1">
                <a:solidFill>
                  <a:schemeClr val="tx2"/>
                </a:solidFill>
                <a:latin typeface="Poppins" pitchFamily="2" charset="77"/>
                <a:cs typeface="Poppins" pitchFamily="2" charset="77"/>
              </a:rPr>
              <a:t>Tenant</a:t>
            </a:r>
            <a:r>
              <a:rPr lang="es-CL" altLang="es-CL" sz="1400" b="1">
                <a:solidFill>
                  <a:schemeClr val="tx2"/>
                </a:solidFill>
                <a:latin typeface="Poppins" pitchFamily="2" charset="77"/>
                <a:cs typeface="Poppins" pitchFamily="2" charset="77"/>
              </a:rPr>
              <a:t> Sales (CLP)</a:t>
            </a:r>
          </a:p>
          <a:p>
            <a:pPr lvl="0" algn="ctr" eaLnBrk="0" fontAlgn="base" hangingPunct="0">
              <a:spcBef>
                <a:spcPct val="0"/>
              </a:spcBef>
              <a:spcAft>
                <a:spcPct val="0"/>
              </a:spcAft>
            </a:pPr>
            <a:r>
              <a:rPr lang="es-CL" altLang="es-CL" sz="1400" b="1" i="1">
                <a:solidFill>
                  <a:schemeClr val="tx2"/>
                </a:solidFill>
                <a:latin typeface="Poppins" pitchFamily="2" charset="77"/>
                <a:cs typeface="Poppins" pitchFamily="2" charset="77"/>
              </a:rPr>
              <a:t>v</a:t>
            </a:r>
            <a:r>
              <a:rPr kumimoji="0" lang="es-CL" altLang="es-CL" sz="1400" b="1" i="1" u="none" strike="noStrike" cap="none" normalizeH="0" baseline="0">
                <a:ln>
                  <a:noFill/>
                </a:ln>
                <a:solidFill>
                  <a:schemeClr val="tx2"/>
                </a:solidFill>
                <a:effectLst/>
                <a:latin typeface="Poppins" pitchFamily="2" charset="77"/>
                <a:cs typeface="Poppins" pitchFamily="2" charset="77"/>
              </a:rPr>
              <a:t>s 1Q24</a:t>
            </a:r>
          </a:p>
        </p:txBody>
      </p:sp>
      <p:sp>
        <p:nvSpPr>
          <p:cNvPr id="12" name="Cuadro de texto 334">
            <a:extLst>
              <a:ext uri="{FF2B5EF4-FFF2-40B4-BE49-F238E27FC236}">
                <a16:creationId xmlns:a16="http://schemas.microsoft.com/office/drawing/2014/main" id="{CC2F6666-1545-F07C-0B1B-4AED6A6A86C1}"/>
              </a:ext>
            </a:extLst>
          </p:cNvPr>
          <p:cNvSpPr txBox="1">
            <a:spLocks noChangeArrowheads="1"/>
          </p:cNvSpPr>
          <p:nvPr/>
        </p:nvSpPr>
        <p:spPr bwMode="auto">
          <a:xfrm>
            <a:off x="4564710" y="3557690"/>
            <a:ext cx="1289556" cy="589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r>
              <a:rPr lang="es-CL" sz="2800" b="1">
                <a:solidFill>
                  <a:schemeClr val="accent1"/>
                </a:solidFill>
                <a:latin typeface="Montserrat" panose="00000500000000000000" pitchFamily="2" charset="0"/>
                <a:cs typeface="Poppins" pitchFamily="2" charset="77"/>
              </a:rPr>
              <a:t>SSR </a:t>
            </a:r>
            <a:r>
              <a:rPr lang="es-CL" sz="2800" b="1" baseline="30000">
                <a:solidFill>
                  <a:schemeClr val="accent1"/>
                </a:solidFill>
                <a:latin typeface="Montserrat" panose="00000500000000000000" pitchFamily="2" charset="0"/>
                <a:cs typeface="Poppins" pitchFamily="2" charset="77"/>
              </a:rPr>
              <a:t>(1)</a:t>
            </a:r>
          </a:p>
          <a:p>
            <a:pPr algn="ctr" eaLnBrk="0" fontAlgn="base" hangingPunct="0">
              <a:spcBef>
                <a:spcPct val="0"/>
              </a:spcBef>
              <a:spcAft>
                <a:spcPct val="0"/>
              </a:spcAft>
            </a:pPr>
            <a:endParaRPr lang="es-CL" altLang="es-CL" sz="1050" b="1">
              <a:solidFill>
                <a:srgbClr val="F672FF"/>
              </a:solidFill>
              <a:latin typeface="Montserrat" panose="00000500000000000000" pitchFamily="2" charset="0"/>
              <a:cs typeface="Poppins" pitchFamily="2" charset="77"/>
            </a:endParaRPr>
          </a:p>
        </p:txBody>
      </p:sp>
      <p:sp>
        <p:nvSpPr>
          <p:cNvPr id="18" name="Cuadro de texto 336">
            <a:extLst>
              <a:ext uri="{FF2B5EF4-FFF2-40B4-BE49-F238E27FC236}">
                <a16:creationId xmlns:a16="http://schemas.microsoft.com/office/drawing/2014/main" id="{6549801B-CCA9-B0CC-6A92-EF9635CF0163}"/>
              </a:ext>
            </a:extLst>
          </p:cNvPr>
          <p:cNvSpPr txBox="1">
            <a:spLocks noChangeArrowheads="1"/>
          </p:cNvSpPr>
          <p:nvPr/>
        </p:nvSpPr>
        <p:spPr bwMode="auto">
          <a:xfrm>
            <a:off x="4115996" y="4763093"/>
            <a:ext cx="827586" cy="1143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lgn="r" eaLnBrk="0" fontAlgn="base" hangingPunct="0">
              <a:spcBef>
                <a:spcPts val="600"/>
              </a:spcBef>
              <a:spcAft>
                <a:spcPct val="0"/>
              </a:spcAft>
            </a:pPr>
            <a:r>
              <a:rPr lang="es-CL" altLang="es-CL" sz="1400" b="1">
                <a:solidFill>
                  <a:schemeClr val="tx2"/>
                </a:solidFill>
                <a:latin typeface="Poppins" pitchFamily="2" charset="77"/>
                <a:cs typeface="Poppins" pitchFamily="2" charset="77"/>
              </a:rPr>
              <a:t>8.8%</a:t>
            </a:r>
          </a:p>
          <a:p>
            <a:pPr lvl="0" algn="r" eaLnBrk="0" fontAlgn="base" hangingPunct="0">
              <a:spcBef>
                <a:spcPts val="600"/>
              </a:spcBef>
              <a:spcAft>
                <a:spcPct val="0"/>
              </a:spcAft>
            </a:pPr>
            <a:r>
              <a:rPr lang="es-CL" altLang="es-CL" sz="1400" b="1">
                <a:solidFill>
                  <a:schemeClr val="tx2"/>
                </a:solidFill>
                <a:latin typeface="Poppins" pitchFamily="2" charset="77"/>
                <a:cs typeface="Poppins" pitchFamily="2" charset="77"/>
              </a:rPr>
              <a:t>-2.1%</a:t>
            </a:r>
          </a:p>
          <a:p>
            <a:pPr lvl="0" algn="r" eaLnBrk="0" fontAlgn="base" hangingPunct="0">
              <a:spcBef>
                <a:spcPts val="600"/>
              </a:spcBef>
              <a:spcAft>
                <a:spcPct val="0"/>
              </a:spcAft>
            </a:pPr>
            <a:r>
              <a:rPr lang="es-CL" altLang="es-CL" sz="1400" b="1">
                <a:solidFill>
                  <a:schemeClr val="tx2"/>
                </a:solidFill>
                <a:latin typeface="Poppins" pitchFamily="2" charset="77"/>
                <a:cs typeface="Poppins" pitchFamily="2" charset="77"/>
              </a:rPr>
              <a:t>5.2%</a:t>
            </a:r>
          </a:p>
        </p:txBody>
      </p:sp>
      <p:sp>
        <p:nvSpPr>
          <p:cNvPr id="20" name="Cuadro de texto 336">
            <a:extLst>
              <a:ext uri="{FF2B5EF4-FFF2-40B4-BE49-F238E27FC236}">
                <a16:creationId xmlns:a16="http://schemas.microsoft.com/office/drawing/2014/main" id="{4F89E58D-5E95-C12F-787F-58562E13CC27}"/>
              </a:ext>
            </a:extLst>
          </p:cNvPr>
          <p:cNvSpPr txBox="1">
            <a:spLocks noChangeArrowheads="1"/>
          </p:cNvSpPr>
          <p:nvPr/>
        </p:nvSpPr>
        <p:spPr bwMode="auto">
          <a:xfrm>
            <a:off x="5011799" y="4763093"/>
            <a:ext cx="1645793" cy="1143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ts val="600"/>
              </a:spcBef>
              <a:spcAft>
                <a:spcPct val="0"/>
              </a:spcAft>
            </a:pPr>
            <a:r>
              <a:rPr lang="es-CL" altLang="es-CL" sz="1400" b="1">
                <a:solidFill>
                  <a:schemeClr val="tx2"/>
                </a:solidFill>
                <a:latin typeface="Poppins" pitchFamily="2" charset="77"/>
                <a:cs typeface="Poppins" pitchFamily="2" charset="77"/>
              </a:rPr>
              <a:t>Chile </a:t>
            </a:r>
            <a:r>
              <a:rPr lang="es-CL" altLang="es-CL" sz="1400" b="1" baseline="30000">
                <a:solidFill>
                  <a:schemeClr val="tx2"/>
                </a:solidFill>
                <a:latin typeface="Poppins" pitchFamily="2" charset="77"/>
                <a:cs typeface="Poppins" pitchFamily="2" charset="77"/>
              </a:rPr>
              <a:t>(2)</a:t>
            </a:r>
          </a:p>
          <a:p>
            <a:pPr eaLnBrk="0" fontAlgn="base" hangingPunct="0">
              <a:spcBef>
                <a:spcPts val="600"/>
              </a:spcBef>
              <a:spcAft>
                <a:spcPct val="0"/>
              </a:spcAft>
            </a:pPr>
            <a:r>
              <a:rPr lang="es-CL" altLang="es-CL" sz="1400" b="1" err="1">
                <a:solidFill>
                  <a:schemeClr val="tx2"/>
                </a:solidFill>
                <a:latin typeface="Poppins" pitchFamily="2" charset="77"/>
                <a:cs typeface="Poppins" pitchFamily="2" charset="77"/>
              </a:rPr>
              <a:t>Peru</a:t>
            </a:r>
            <a:endParaRPr lang="es-CL" altLang="es-CL" sz="1400" b="1">
              <a:solidFill>
                <a:schemeClr val="tx2"/>
              </a:solidFill>
              <a:latin typeface="Poppins" pitchFamily="2" charset="77"/>
              <a:cs typeface="Poppins" pitchFamily="2" charset="77"/>
            </a:endParaRPr>
          </a:p>
          <a:p>
            <a:pPr eaLnBrk="0" fontAlgn="base" hangingPunct="0">
              <a:spcBef>
                <a:spcPts val="600"/>
              </a:spcBef>
              <a:spcAft>
                <a:spcPct val="0"/>
              </a:spcAft>
            </a:pPr>
            <a:r>
              <a:rPr lang="es-CL" altLang="es-CL" sz="1400" b="1">
                <a:solidFill>
                  <a:schemeClr val="tx2"/>
                </a:solidFill>
                <a:latin typeface="Poppins" pitchFamily="2" charset="77"/>
                <a:cs typeface="Poppins" pitchFamily="2" charset="77"/>
              </a:rPr>
              <a:t>Colombia</a:t>
            </a:r>
          </a:p>
        </p:txBody>
      </p:sp>
      <p:sp>
        <p:nvSpPr>
          <p:cNvPr id="22" name="CuadroTexto 21">
            <a:extLst>
              <a:ext uri="{FF2B5EF4-FFF2-40B4-BE49-F238E27FC236}">
                <a16:creationId xmlns:a16="http://schemas.microsoft.com/office/drawing/2014/main" id="{15B5A5A8-2943-ECDD-5CB5-34269E7D5632}"/>
              </a:ext>
            </a:extLst>
          </p:cNvPr>
          <p:cNvSpPr txBox="1"/>
          <p:nvPr/>
        </p:nvSpPr>
        <p:spPr>
          <a:xfrm>
            <a:off x="0" y="6613459"/>
            <a:ext cx="7059719" cy="246221"/>
          </a:xfrm>
          <a:prstGeom prst="rect">
            <a:avLst/>
          </a:prstGeom>
          <a:noFill/>
        </p:spPr>
        <p:txBody>
          <a:bodyPr wrap="square" rtlCol="0">
            <a:spAutoFit/>
          </a:bodyPr>
          <a:lstStyle/>
          <a:p>
            <a:pPr algn="just"/>
            <a:r>
              <a:rPr lang="es-CL" sz="1000" baseline="30000">
                <a:solidFill>
                  <a:srgbClr val="404040"/>
                </a:solidFill>
                <a:latin typeface="Montserrat" panose="00000500000000000000" pitchFamily="2" charset="0"/>
                <a:ea typeface="Times New Roman" panose="02020603050405020304" pitchFamily="18" charset="0"/>
                <a:cs typeface="Poppins" panose="00000500000000000000" pitchFamily="2" charset="0"/>
              </a:rPr>
              <a:t>(1) </a:t>
            </a:r>
            <a:r>
              <a:rPr lang="en-US" sz="1000">
                <a:solidFill>
                  <a:srgbClr val="404040"/>
                </a:solidFill>
                <a:latin typeface="Montserrat" panose="00000500000000000000" pitchFamily="2" charset="0"/>
                <a:ea typeface="Times New Roman" panose="02020603050405020304" pitchFamily="18" charset="0"/>
                <a:cs typeface="Poppins" panose="00000500000000000000" pitchFamily="2" charset="0"/>
              </a:rPr>
              <a:t>Figures in local currency (CLP, PEN, and COP, respectively) </a:t>
            </a:r>
            <a:r>
              <a:rPr lang="es-CL" sz="1000" baseline="30000">
                <a:solidFill>
                  <a:srgbClr val="404040"/>
                </a:solidFill>
                <a:latin typeface="Montserrat" panose="00000500000000000000" pitchFamily="2" charset="0"/>
                <a:ea typeface="Times New Roman" panose="02020603050405020304" pitchFamily="18" charset="0"/>
                <a:cs typeface="Poppins" panose="00000500000000000000" pitchFamily="2" charset="0"/>
              </a:rPr>
              <a:t>(2)</a:t>
            </a:r>
            <a:r>
              <a:rPr lang="en-US" sz="1000">
                <a:solidFill>
                  <a:srgbClr val="404040"/>
                </a:solidFill>
                <a:latin typeface="Montserrat" panose="00000500000000000000" pitchFamily="2" charset="0"/>
                <a:ea typeface="Times New Roman" panose="02020603050405020304" pitchFamily="18" charset="0"/>
                <a:cs typeface="Poppins" panose="00000500000000000000" pitchFamily="2" charset="0"/>
              </a:rPr>
              <a:t> In UF, SSR would be 4.0%.</a:t>
            </a:r>
            <a:endParaRPr lang="es-ES" sz="1000">
              <a:solidFill>
                <a:srgbClr val="404040"/>
              </a:solidFill>
              <a:latin typeface="Montserrat" panose="00000500000000000000" pitchFamily="2" charset="0"/>
              <a:ea typeface="Times New Roman" panose="02020603050405020304" pitchFamily="18" charset="0"/>
              <a:cs typeface="Poppins" panose="00000500000000000000" pitchFamily="2" charset="0"/>
            </a:endParaRPr>
          </a:p>
        </p:txBody>
      </p:sp>
      <p:sp>
        <p:nvSpPr>
          <p:cNvPr id="3" name="CuadroTexto 2">
            <a:extLst>
              <a:ext uri="{FF2B5EF4-FFF2-40B4-BE49-F238E27FC236}">
                <a16:creationId xmlns:a16="http://schemas.microsoft.com/office/drawing/2014/main" id="{AF704D12-DF26-2A97-D0B4-0B30AD478DD7}"/>
              </a:ext>
            </a:extLst>
          </p:cNvPr>
          <p:cNvSpPr txBox="1"/>
          <p:nvPr/>
        </p:nvSpPr>
        <p:spPr>
          <a:xfrm>
            <a:off x="491796" y="207049"/>
            <a:ext cx="8042604" cy="553998"/>
          </a:xfrm>
          <a:prstGeom prst="rect">
            <a:avLst/>
          </a:prstGeom>
          <a:noFill/>
        </p:spPr>
        <p:txBody>
          <a:bodyPr wrap="square" rtlCol="0">
            <a:spAutoFit/>
          </a:bodyPr>
          <a:lstStyle/>
          <a:p>
            <a:r>
              <a:rPr lang="es-CL" sz="3000" b="1">
                <a:solidFill>
                  <a:schemeClr val="accent3"/>
                </a:solidFill>
                <a:latin typeface="Poppins" pitchFamily="2" charset="77"/>
                <a:cs typeface="Poppins" pitchFamily="2" charset="77"/>
              </a:rPr>
              <a:t>2.8 </a:t>
            </a:r>
            <a:r>
              <a:rPr kumimoji="0" lang="es-CL" sz="3000" b="1" i="0" u="none" strike="noStrike" kern="1200" cap="none" spc="0" normalizeH="0" baseline="0" noProof="0">
                <a:ln>
                  <a:noFill/>
                </a:ln>
                <a:solidFill>
                  <a:schemeClr val="tx2"/>
                </a:solidFill>
                <a:effectLst/>
                <a:uLnTx/>
                <a:uFillTx/>
                <a:latin typeface="Poppins" pitchFamily="2" charset="77"/>
                <a:cs typeface="Poppins" pitchFamily="2" charset="77"/>
              </a:rPr>
              <a:t>Key </a:t>
            </a:r>
            <a:r>
              <a:rPr kumimoji="0" lang="es-CL" sz="3000" b="1" i="0" u="none" strike="noStrike" kern="1200" cap="none" spc="0" normalizeH="0" baseline="0" noProof="0" err="1">
                <a:ln>
                  <a:noFill/>
                </a:ln>
                <a:solidFill>
                  <a:schemeClr val="tx2"/>
                </a:solidFill>
                <a:effectLst/>
                <a:uLnTx/>
                <a:uFillTx/>
                <a:latin typeface="Poppins" pitchFamily="2" charset="77"/>
                <a:cs typeface="Poppins" pitchFamily="2" charset="77"/>
              </a:rPr>
              <a:t>Operational</a:t>
            </a:r>
            <a:r>
              <a:rPr kumimoji="0" lang="es-CL" sz="3000" b="1" i="0" u="none" strike="noStrike" kern="1200" cap="none" spc="0" normalizeH="0" baseline="0" noProof="0">
                <a:ln>
                  <a:noFill/>
                </a:ln>
                <a:solidFill>
                  <a:schemeClr val="tx2"/>
                </a:solidFill>
                <a:effectLst/>
                <a:uLnTx/>
                <a:uFillTx/>
                <a:latin typeface="Poppins" pitchFamily="2" charset="77"/>
                <a:cs typeface="Poppins" pitchFamily="2" charset="77"/>
              </a:rPr>
              <a:t> Figures</a:t>
            </a:r>
            <a:endParaRPr lang="es-CL" sz="3000" b="1">
              <a:solidFill>
                <a:schemeClr val="tx2"/>
              </a:solidFill>
              <a:latin typeface="Poppins" pitchFamily="2" charset="77"/>
              <a:cs typeface="Poppins" pitchFamily="2" charset="77"/>
            </a:endParaRPr>
          </a:p>
        </p:txBody>
      </p:sp>
      <p:sp>
        <p:nvSpPr>
          <p:cNvPr id="6" name="CuadroTexto 5">
            <a:extLst>
              <a:ext uri="{FF2B5EF4-FFF2-40B4-BE49-F238E27FC236}">
                <a16:creationId xmlns:a16="http://schemas.microsoft.com/office/drawing/2014/main" id="{DC20AEAF-2EBF-150B-6775-B341008E86B5}"/>
              </a:ext>
            </a:extLst>
          </p:cNvPr>
          <p:cNvSpPr txBox="1"/>
          <p:nvPr/>
        </p:nvSpPr>
        <p:spPr>
          <a:xfrm>
            <a:off x="7433000" y="1340456"/>
            <a:ext cx="4371649" cy="4293483"/>
          </a:xfrm>
          <a:prstGeom prst="rect">
            <a:avLst/>
          </a:prstGeom>
          <a:noFill/>
        </p:spPr>
        <p:txBody>
          <a:bodyPr wrap="square" rtlCol="0">
            <a:spAutoFit/>
          </a:bodyPr>
          <a:lstStyle/>
          <a:p>
            <a:pPr algn="just"/>
            <a:r>
              <a:rPr lang="en-US" sz="1300" b="1">
                <a:solidFill>
                  <a:srgbClr val="241660"/>
                </a:solidFill>
                <a:latin typeface="Poppins" panose="00000500000000000000" pitchFamily="2" charset="0"/>
                <a:cs typeface="Poppins" panose="00000500000000000000" pitchFamily="2" charset="0"/>
              </a:rPr>
              <a:t>Occupancy Rate</a:t>
            </a:r>
          </a:p>
          <a:p>
            <a:pPr algn="just"/>
            <a:r>
              <a:rPr lang="en-US" sz="1300">
                <a:solidFill>
                  <a:srgbClr val="241660"/>
                </a:solidFill>
                <a:latin typeface="Poppins" panose="00000500000000000000" pitchFamily="2" charset="0"/>
                <a:cs typeface="Poppins" panose="00000500000000000000" pitchFamily="2" charset="0"/>
              </a:rPr>
              <a:t>Reached 98.2%, remaining stable compared to the same period last year (-5 bps) despite the addition of nearly 20,000 sqm of GLA versus 1Q24.</a:t>
            </a:r>
          </a:p>
          <a:p>
            <a:pPr algn="just"/>
            <a:endParaRPr lang="en-US" sz="1300">
              <a:solidFill>
                <a:srgbClr val="241660"/>
              </a:solidFill>
              <a:latin typeface="Poppins" panose="00000500000000000000" pitchFamily="2" charset="0"/>
              <a:cs typeface="Poppins" panose="00000500000000000000" pitchFamily="2" charset="0"/>
            </a:endParaRPr>
          </a:p>
          <a:p>
            <a:pPr algn="just"/>
            <a:r>
              <a:rPr lang="en-US" sz="1300" b="1">
                <a:solidFill>
                  <a:srgbClr val="241660"/>
                </a:solidFill>
                <a:latin typeface="Poppins" panose="00000500000000000000" pitchFamily="2" charset="0"/>
                <a:cs typeface="Poppins" panose="00000500000000000000" pitchFamily="2" charset="0"/>
              </a:rPr>
              <a:t>Visits</a:t>
            </a:r>
          </a:p>
          <a:p>
            <a:pPr algn="just"/>
            <a:r>
              <a:rPr lang="en-US" sz="1300">
                <a:solidFill>
                  <a:srgbClr val="241660"/>
                </a:solidFill>
                <a:latin typeface="Poppins" panose="00000500000000000000" pitchFamily="2" charset="0"/>
                <a:cs typeface="Poppins" panose="00000500000000000000" pitchFamily="2" charset="0"/>
              </a:rPr>
              <a:t>Increased by 2.7% YoY, driven by remodeling, expansions, the ongoing development of the tenant mix, and higher tourist traffic.</a:t>
            </a:r>
          </a:p>
          <a:p>
            <a:pPr algn="just"/>
            <a:endParaRPr lang="en-US" sz="1300">
              <a:solidFill>
                <a:srgbClr val="241660"/>
              </a:solidFill>
              <a:latin typeface="Poppins" panose="00000500000000000000" pitchFamily="2" charset="0"/>
              <a:cs typeface="Poppins" panose="00000500000000000000" pitchFamily="2" charset="0"/>
            </a:endParaRPr>
          </a:p>
          <a:p>
            <a:pPr algn="just"/>
            <a:r>
              <a:rPr lang="en-US" sz="1300" b="1">
                <a:solidFill>
                  <a:srgbClr val="241660"/>
                </a:solidFill>
                <a:latin typeface="Poppins" panose="00000500000000000000" pitchFamily="2" charset="0"/>
                <a:cs typeface="Poppins" panose="00000500000000000000" pitchFamily="2" charset="0"/>
              </a:rPr>
              <a:t>Tenant Sales</a:t>
            </a:r>
          </a:p>
          <a:p>
            <a:pPr algn="just"/>
            <a:r>
              <a:rPr lang="en-US" sz="1300">
                <a:solidFill>
                  <a:srgbClr val="241660"/>
                </a:solidFill>
                <a:latin typeface="Poppins" panose="00000500000000000000" pitchFamily="2" charset="0"/>
                <a:cs typeface="Poppins" panose="00000500000000000000" pitchFamily="2" charset="0"/>
              </a:rPr>
              <a:t>Tenant sales rose 10.2% YoY, boosted by the increase in footfall and stronger capture of tourist spending.</a:t>
            </a:r>
          </a:p>
          <a:p>
            <a:pPr algn="just"/>
            <a:endParaRPr lang="en-US" sz="1300">
              <a:solidFill>
                <a:srgbClr val="241660"/>
              </a:solidFill>
              <a:latin typeface="Poppins" panose="00000500000000000000" pitchFamily="2" charset="0"/>
              <a:cs typeface="Poppins" panose="00000500000000000000" pitchFamily="2" charset="0"/>
            </a:endParaRPr>
          </a:p>
          <a:p>
            <a:pPr algn="just"/>
            <a:r>
              <a:rPr lang="en-US" sz="1300" b="1">
                <a:solidFill>
                  <a:srgbClr val="241660"/>
                </a:solidFill>
                <a:latin typeface="Poppins" panose="00000500000000000000" pitchFamily="2" charset="0"/>
                <a:cs typeface="Poppins" panose="00000500000000000000" pitchFamily="2" charset="0"/>
              </a:rPr>
              <a:t>SSR </a:t>
            </a:r>
          </a:p>
          <a:p>
            <a:pPr algn="just"/>
            <a:r>
              <a:rPr lang="en-US" sz="1300">
                <a:solidFill>
                  <a:srgbClr val="241660"/>
                </a:solidFill>
                <a:latin typeface="Poppins" panose="00000500000000000000" pitchFamily="2" charset="0"/>
                <a:cs typeface="Poppins" panose="00000500000000000000" pitchFamily="2" charset="0"/>
              </a:rPr>
              <a:t>In Chile, SSR expanded by 8.8% YoY, driven by a higher contribution from variable rent, mainly from Supermarkets and Department Stores. In Colombia, SSR grew 5.2% YoY, primarily reflecting contract updates. In Peru, SSR decline by 2.1% YoY.</a:t>
            </a:r>
            <a:endParaRPr lang="es-CL" sz="1300">
              <a:solidFill>
                <a:srgbClr val="241660"/>
              </a:solidFill>
              <a:latin typeface="Poppins" panose="00000500000000000000" pitchFamily="2" charset="0"/>
              <a:cs typeface="Poppins" panose="00000500000000000000" pitchFamily="2" charset="0"/>
            </a:endParaRPr>
          </a:p>
        </p:txBody>
      </p:sp>
      <p:pic>
        <p:nvPicPr>
          <p:cNvPr id="8" name="Gráfico 7">
            <a:extLst>
              <a:ext uri="{FF2B5EF4-FFF2-40B4-BE49-F238E27FC236}">
                <a16:creationId xmlns:a16="http://schemas.microsoft.com/office/drawing/2014/main" id="{32F4F13A-D009-E310-F5AA-53C3A1BD30F8}"/>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1840200" y="3918932"/>
            <a:ext cx="759600" cy="759600"/>
          </a:xfrm>
          <a:prstGeom prst="rect">
            <a:avLst/>
          </a:prstGeom>
        </p:spPr>
      </p:pic>
      <p:pic>
        <p:nvPicPr>
          <p:cNvPr id="9" name="Gráfico 8">
            <a:extLst>
              <a:ext uri="{FF2B5EF4-FFF2-40B4-BE49-F238E27FC236}">
                <a16:creationId xmlns:a16="http://schemas.microsoft.com/office/drawing/2014/main" id="{AC128AAE-3260-4DF5-7EDC-D4639981A6D8}"/>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4715944" y="3931578"/>
            <a:ext cx="759600" cy="759600"/>
          </a:xfrm>
          <a:prstGeom prst="rect">
            <a:avLst/>
          </a:prstGeom>
        </p:spPr>
      </p:pic>
      <p:pic>
        <p:nvPicPr>
          <p:cNvPr id="25" name="Gráfico 24">
            <a:extLst>
              <a:ext uri="{FF2B5EF4-FFF2-40B4-BE49-F238E27FC236}">
                <a16:creationId xmlns:a16="http://schemas.microsoft.com/office/drawing/2014/main" id="{B73122AF-9F3A-2422-B139-FD84A45CF9A7}"/>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1850664" y="1350564"/>
            <a:ext cx="759600" cy="759600"/>
          </a:xfrm>
          <a:prstGeom prst="rect">
            <a:avLst/>
          </a:prstGeom>
        </p:spPr>
      </p:pic>
      <p:pic>
        <p:nvPicPr>
          <p:cNvPr id="26" name="Gráfico 25">
            <a:extLst>
              <a:ext uri="{FF2B5EF4-FFF2-40B4-BE49-F238E27FC236}">
                <a16:creationId xmlns:a16="http://schemas.microsoft.com/office/drawing/2014/main" id="{562A5052-87B4-EE0A-3022-B45EF3D386AB}"/>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4712624" y="1350564"/>
            <a:ext cx="759600" cy="759600"/>
          </a:xfrm>
          <a:prstGeom prst="rect">
            <a:avLst/>
          </a:prstGeom>
        </p:spPr>
      </p:pic>
      <p:sp>
        <p:nvSpPr>
          <p:cNvPr id="10" name="Marcador de número de diapositiva 1">
            <a:extLst>
              <a:ext uri="{FF2B5EF4-FFF2-40B4-BE49-F238E27FC236}">
                <a16:creationId xmlns:a16="http://schemas.microsoft.com/office/drawing/2014/main" id="{9E460870-2F04-9D18-0A63-86ACCFD92C0B}"/>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16</a:t>
            </a:fld>
            <a:endParaRPr lang="es-CL"/>
          </a:p>
        </p:txBody>
      </p:sp>
      <p:sp>
        <p:nvSpPr>
          <p:cNvPr id="5" name="Título 1">
            <a:extLst>
              <a:ext uri="{FF2B5EF4-FFF2-40B4-BE49-F238E27FC236}">
                <a16:creationId xmlns:a16="http://schemas.microsoft.com/office/drawing/2014/main" id="{6BD1C4BC-1C94-0DC7-34D3-52F83AA4B491}"/>
              </a:ext>
            </a:extLst>
          </p:cNvPr>
          <p:cNvSpPr txBox="1">
            <a:spLocks/>
          </p:cNvSpPr>
          <p:nvPr/>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tx2"/>
                </a:solidFill>
                <a:latin typeface="Poppins" pitchFamily="2" charset="77"/>
                <a:cs typeface="Poppins" pitchFamily="2" charset="77"/>
              </a:rPr>
              <a:t>Earning</a:t>
            </a:r>
            <a:r>
              <a:rPr lang="es-MX" sz="800" b="1">
                <a:solidFill>
                  <a:schemeClr val="tx2"/>
                </a:solidFill>
                <a:latin typeface="Poppins" pitchFamily="2" charset="77"/>
                <a:cs typeface="Poppins" pitchFamily="2" charset="77"/>
              </a:rPr>
              <a:t> </a:t>
            </a:r>
            <a:r>
              <a:rPr lang="es-MX" sz="800" b="1" err="1">
                <a:solidFill>
                  <a:schemeClr val="tx2"/>
                </a:solidFill>
                <a:latin typeface="Poppins" pitchFamily="2" charset="77"/>
                <a:cs typeface="Poppins" pitchFamily="2" charset="77"/>
              </a:rPr>
              <a:t>Presentation</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First</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Quarter</a:t>
            </a:r>
            <a:r>
              <a:rPr lang="es-MX" sz="800" b="0">
                <a:solidFill>
                  <a:schemeClr val="tx2"/>
                </a:solidFill>
                <a:latin typeface="Poppins" pitchFamily="2" charset="77"/>
                <a:cs typeface="Poppins" pitchFamily="2" charset="77"/>
              </a:rPr>
              <a:t> 2025</a:t>
            </a:r>
            <a:endParaRPr lang="es-CL" sz="800" b="0">
              <a:solidFill>
                <a:schemeClr val="tx2"/>
              </a:solidFill>
              <a:latin typeface="Poppins" pitchFamily="2" charset="77"/>
              <a:cs typeface="Poppins" pitchFamily="2" charset="77"/>
            </a:endParaRPr>
          </a:p>
        </p:txBody>
      </p:sp>
    </p:spTree>
    <p:extLst>
      <p:ext uri="{BB962C8B-B14F-4D97-AF65-F5344CB8AC3E}">
        <p14:creationId xmlns:p14="http://schemas.microsoft.com/office/powerpoint/2010/main" val="27987523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6671726-3BCD-F3FA-F071-A4A61FC92580}"/>
              </a:ext>
            </a:extLst>
          </p:cNvPr>
          <p:cNvGraphicFramePr>
            <a:graphicFrameLocks noChangeAspect="1"/>
          </p:cNvGraphicFramePr>
          <p:nvPr>
            <p:custDataLst>
              <p:tags r:id="rId1"/>
            </p:custDataLst>
            <p:extLst>
              <p:ext uri="{D42A27DB-BD31-4B8C-83A1-F6EECF244321}">
                <p14:modId xmlns:p14="http://schemas.microsoft.com/office/powerpoint/2010/main" val="1965897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6" progId="TCLayout.ActiveDocument.1">
                  <p:embed/>
                </p:oleObj>
              </mc:Choice>
              <mc:Fallback>
                <p:oleObj name="Diapositiva de think-cell" r:id="rId4" imgW="395" imgH="396" progId="TCLayout.ActiveDocument.1">
                  <p:embed/>
                  <p:pic>
                    <p:nvPicPr>
                      <p:cNvPr id="7" name="think-cell data - do not delete" hidden="1">
                        <a:extLst>
                          <a:ext uri="{FF2B5EF4-FFF2-40B4-BE49-F238E27FC236}">
                            <a16:creationId xmlns:a16="http://schemas.microsoft.com/office/drawing/2014/main" id="{D6671726-3BCD-F3FA-F071-A4A61FC925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Imagen 11">
            <a:extLst>
              <a:ext uri="{FF2B5EF4-FFF2-40B4-BE49-F238E27FC236}">
                <a16:creationId xmlns:a16="http://schemas.microsoft.com/office/drawing/2014/main" id="{930F79F7-B1E7-4E0E-ABB4-C6B1F7035DA5}"/>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0" y="3483327"/>
            <a:ext cx="3644450" cy="2418310"/>
          </a:xfrm>
          <a:custGeom>
            <a:avLst/>
            <a:gdLst>
              <a:gd name="connsiteX0" fmla="*/ 832289 w 2359751"/>
              <a:gd name="connsiteY0" fmla="*/ 1983 h 1564753"/>
              <a:gd name="connsiteX1" fmla="*/ 1896580 w 2359751"/>
              <a:gd name="connsiteY1" fmla="*/ 135807 h 1564753"/>
              <a:gd name="connsiteX2" fmla="*/ 2359751 w 2359751"/>
              <a:gd name="connsiteY2" fmla="*/ 1172971 h 1564753"/>
              <a:gd name="connsiteX3" fmla="*/ 2359751 w 2359751"/>
              <a:gd name="connsiteY3" fmla="*/ 1196232 h 1564753"/>
              <a:gd name="connsiteX4" fmla="*/ 1647558 w 2359751"/>
              <a:gd name="connsiteY4" fmla="*/ 1564753 h 1564753"/>
              <a:gd name="connsiteX5" fmla="*/ 1621395 w 2359751"/>
              <a:gd name="connsiteY5" fmla="*/ 1564753 h 1564753"/>
              <a:gd name="connsiteX6" fmla="*/ 846868 w 2359751"/>
              <a:gd name="connsiteY6" fmla="*/ 1332351 h 1564753"/>
              <a:gd name="connsiteX7" fmla="*/ 5071 w 2359751"/>
              <a:gd name="connsiteY7" fmla="*/ 1555189 h 1564753"/>
              <a:gd name="connsiteX8" fmla="*/ 0 w 2359751"/>
              <a:gd name="connsiteY8" fmla="*/ 140651 h 1564753"/>
              <a:gd name="connsiteX9" fmla="*/ 832289 w 2359751"/>
              <a:gd name="connsiteY9" fmla="*/ 1983 h 1564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59751" h="1564753">
                <a:moveTo>
                  <a:pt x="832289" y="1983"/>
                </a:moveTo>
                <a:cubicBezTo>
                  <a:pt x="1175643" y="-9119"/>
                  <a:pt x="1557663" y="25195"/>
                  <a:pt x="1896580" y="135807"/>
                </a:cubicBezTo>
                <a:lnTo>
                  <a:pt x="2359751" y="1172971"/>
                </a:lnTo>
                <a:lnTo>
                  <a:pt x="2359751" y="1196232"/>
                </a:lnTo>
                <a:lnTo>
                  <a:pt x="1647558" y="1564753"/>
                </a:lnTo>
                <a:lnTo>
                  <a:pt x="1621395" y="1564753"/>
                </a:lnTo>
                <a:lnTo>
                  <a:pt x="846868" y="1332351"/>
                </a:lnTo>
                <a:cubicBezTo>
                  <a:pt x="474990" y="1309744"/>
                  <a:pt x="87898" y="1451844"/>
                  <a:pt x="5071" y="1555189"/>
                </a:cubicBezTo>
                <a:cubicBezTo>
                  <a:pt x="3381" y="1083677"/>
                  <a:pt x="1690" y="612164"/>
                  <a:pt x="0" y="140651"/>
                </a:cubicBezTo>
                <a:cubicBezTo>
                  <a:pt x="184249" y="69601"/>
                  <a:pt x="488936" y="13084"/>
                  <a:pt x="832289" y="1983"/>
                </a:cubicBezTo>
                <a:close/>
              </a:path>
            </a:pathLst>
          </a:custGeom>
        </p:spPr>
      </p:pic>
      <p:sp>
        <p:nvSpPr>
          <p:cNvPr id="4" name="Redondear rectángulo de esquina del mismo lado 2">
            <a:extLst>
              <a:ext uri="{FF2B5EF4-FFF2-40B4-BE49-F238E27FC236}">
                <a16:creationId xmlns:a16="http://schemas.microsoft.com/office/drawing/2014/main" id="{E5B27608-062D-7A6F-90E8-9ADCC6FF6C04}"/>
              </a:ext>
            </a:extLst>
          </p:cNvPr>
          <p:cNvSpPr/>
          <p:nvPr/>
        </p:nvSpPr>
        <p:spPr>
          <a:xfrm rot="5400000">
            <a:off x="7005667" y="1449989"/>
            <a:ext cx="1911930" cy="8210800"/>
          </a:xfrm>
          <a:prstGeom prst="round2SameRect">
            <a:avLst>
              <a:gd name="adj1" fmla="val 6127"/>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a:t>v</a:t>
            </a:r>
          </a:p>
        </p:txBody>
      </p:sp>
      <p:graphicFrame>
        <p:nvGraphicFramePr>
          <p:cNvPr id="5" name="Tabla 4">
            <a:extLst>
              <a:ext uri="{FF2B5EF4-FFF2-40B4-BE49-F238E27FC236}">
                <a16:creationId xmlns:a16="http://schemas.microsoft.com/office/drawing/2014/main" id="{F581023C-8B4E-FB7D-341A-8A77AB816E7C}"/>
              </a:ext>
            </a:extLst>
          </p:cNvPr>
          <p:cNvGraphicFramePr>
            <a:graphicFrameLocks noGrp="1"/>
          </p:cNvGraphicFramePr>
          <p:nvPr>
            <p:extLst>
              <p:ext uri="{D42A27DB-BD31-4B8C-83A1-F6EECF244321}">
                <p14:modId xmlns:p14="http://schemas.microsoft.com/office/powerpoint/2010/main" val="4283099052"/>
              </p:ext>
            </p:extLst>
          </p:nvPr>
        </p:nvGraphicFramePr>
        <p:xfrm>
          <a:off x="3976920" y="4666136"/>
          <a:ext cx="7956000" cy="1750140"/>
        </p:xfrm>
        <a:graphic>
          <a:graphicData uri="http://schemas.openxmlformats.org/drawingml/2006/table">
            <a:tbl>
              <a:tblPr/>
              <a:tblGrid>
                <a:gridCol w="3060000">
                  <a:extLst>
                    <a:ext uri="{9D8B030D-6E8A-4147-A177-3AD203B41FA5}">
                      <a16:colId xmlns:a16="http://schemas.microsoft.com/office/drawing/2014/main" val="3467703053"/>
                    </a:ext>
                  </a:extLst>
                </a:gridCol>
                <a:gridCol w="792000">
                  <a:extLst>
                    <a:ext uri="{9D8B030D-6E8A-4147-A177-3AD203B41FA5}">
                      <a16:colId xmlns:a16="http://schemas.microsoft.com/office/drawing/2014/main" val="825101795"/>
                    </a:ext>
                  </a:extLst>
                </a:gridCol>
                <a:gridCol w="792000">
                  <a:extLst>
                    <a:ext uri="{9D8B030D-6E8A-4147-A177-3AD203B41FA5}">
                      <a16:colId xmlns:a16="http://schemas.microsoft.com/office/drawing/2014/main" val="320876964"/>
                    </a:ext>
                  </a:extLst>
                </a:gridCol>
                <a:gridCol w="792000">
                  <a:extLst>
                    <a:ext uri="{9D8B030D-6E8A-4147-A177-3AD203B41FA5}">
                      <a16:colId xmlns:a16="http://schemas.microsoft.com/office/drawing/2014/main" val="4140666983"/>
                    </a:ext>
                  </a:extLst>
                </a:gridCol>
                <a:gridCol w="144000">
                  <a:extLst>
                    <a:ext uri="{9D8B030D-6E8A-4147-A177-3AD203B41FA5}">
                      <a16:colId xmlns:a16="http://schemas.microsoft.com/office/drawing/2014/main" val="3106855113"/>
                    </a:ext>
                  </a:extLst>
                </a:gridCol>
                <a:gridCol w="792000">
                  <a:extLst>
                    <a:ext uri="{9D8B030D-6E8A-4147-A177-3AD203B41FA5}">
                      <a16:colId xmlns:a16="http://schemas.microsoft.com/office/drawing/2014/main" val="2779807608"/>
                    </a:ext>
                  </a:extLst>
                </a:gridCol>
                <a:gridCol w="792000">
                  <a:extLst>
                    <a:ext uri="{9D8B030D-6E8A-4147-A177-3AD203B41FA5}">
                      <a16:colId xmlns:a16="http://schemas.microsoft.com/office/drawing/2014/main" val="3675634448"/>
                    </a:ext>
                  </a:extLst>
                </a:gridCol>
                <a:gridCol w="792000">
                  <a:extLst>
                    <a:ext uri="{9D8B030D-6E8A-4147-A177-3AD203B41FA5}">
                      <a16:colId xmlns:a16="http://schemas.microsoft.com/office/drawing/2014/main" val="4257888880"/>
                    </a:ext>
                  </a:extLst>
                </a:gridCol>
              </a:tblGrid>
              <a:tr h="341527">
                <a:tc>
                  <a:txBody>
                    <a:bodyPr/>
                    <a:lstStyle/>
                    <a:p>
                      <a:pPr algn="l" fontAlgn="ctr"/>
                      <a:r>
                        <a:rPr lang="es-CL" sz="1400" b="1" i="0" u="none" strike="noStrike" err="1">
                          <a:solidFill>
                            <a:schemeClr val="tx1"/>
                          </a:solidFill>
                          <a:effectLst/>
                          <a:latin typeface="Aptos" panose="020B0004020202020204" pitchFamily="34" charset="0"/>
                        </a:rPr>
                        <a:t>Income</a:t>
                      </a:r>
                      <a:r>
                        <a:rPr lang="es-CL" sz="1400" b="1" i="0" u="none" strike="noStrike">
                          <a:solidFill>
                            <a:schemeClr val="tx1"/>
                          </a:solidFill>
                          <a:effectLst/>
                          <a:latin typeface="Aptos" panose="020B0004020202020204" pitchFamily="34" charset="0"/>
                        </a:rPr>
                        <a:t> </a:t>
                      </a:r>
                      <a:r>
                        <a:rPr lang="es-CL" sz="1400" b="1" i="0" u="none" strike="noStrike" err="1">
                          <a:solidFill>
                            <a:schemeClr val="tx1"/>
                          </a:solidFill>
                          <a:effectLst/>
                          <a:latin typeface="Aptos" panose="020B0004020202020204" pitchFamily="34" charset="0"/>
                        </a:rPr>
                        <a:t>Tax</a:t>
                      </a:r>
                      <a:endParaRPr lang="es-CL" sz="1400" b="1" i="0" u="none" strike="noStrike">
                        <a:solidFill>
                          <a:schemeClr val="tx1"/>
                        </a:solidFill>
                        <a:effectLst/>
                        <a:latin typeface="Aptos" panose="020B0004020202020204" pitchFamily="34" charset="0"/>
                      </a:endParaRPr>
                    </a:p>
                    <a:p>
                      <a:pPr algn="l" fontAlgn="ctr"/>
                      <a:r>
                        <a:rPr lang="es-CL" sz="1400" b="1" i="0" u="none" strike="noStrike">
                          <a:solidFill>
                            <a:schemeClr val="tx1"/>
                          </a:solidFill>
                          <a:effectLst/>
                          <a:latin typeface="Aptos" panose="020B0004020202020204" pitchFamily="34" charset="0"/>
                        </a:rPr>
                        <a:t>(CLP </a:t>
                      </a:r>
                      <a:r>
                        <a:rPr lang="es-CL" sz="1400" b="1" i="0" u="none" strike="noStrike" err="1">
                          <a:solidFill>
                            <a:schemeClr val="tx1"/>
                          </a:solidFill>
                          <a:effectLst/>
                          <a:latin typeface="Aptos" panose="020B0004020202020204" pitchFamily="34" charset="0"/>
                        </a:rPr>
                        <a:t>Million</a:t>
                      </a:r>
                      <a:r>
                        <a:rPr lang="es-CL" sz="1400" b="1" i="0" u="none" strike="noStrike">
                          <a:solidFill>
                            <a:schemeClr val="tx1"/>
                          </a:solidFill>
                          <a:effectLst/>
                          <a:latin typeface="Aptos" panose="020B0004020202020204" pitchFamily="34" charset="0"/>
                        </a:rPr>
                        <a:t>)</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s-CL" sz="1400" b="1" i="0" u="none" strike="noStrike" kern="1200">
                          <a:solidFill>
                            <a:schemeClr val="tx1"/>
                          </a:solidFill>
                          <a:effectLst/>
                          <a:latin typeface="Aptos" panose="020B0004020202020204" pitchFamily="34" charset="0"/>
                          <a:ea typeface="+mn-ea"/>
                          <a:cs typeface="+mn-cs"/>
                        </a:rPr>
                        <a:t>1Q25</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s-CL" sz="1400" b="1" i="0" u="none" strike="noStrike" kern="1200">
                          <a:solidFill>
                            <a:schemeClr val="tx1"/>
                          </a:solidFill>
                          <a:effectLst/>
                          <a:latin typeface="Aptos" panose="020B0004020202020204" pitchFamily="34" charset="0"/>
                          <a:ea typeface="+mn-ea"/>
                          <a:cs typeface="+mn-cs"/>
                        </a:rPr>
                        <a:t>1Q24</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s-CL" sz="1400" b="1" i="0" u="none" strike="noStrike" kern="1200">
                          <a:solidFill>
                            <a:schemeClr val="tx1"/>
                          </a:solidFill>
                          <a:effectLst/>
                          <a:latin typeface="Aptos" panose="020B0004020202020204" pitchFamily="34" charset="0"/>
                          <a:ea typeface="+mn-ea"/>
                          <a:cs typeface="+mn-cs"/>
                        </a:rPr>
                        <a:t>Var.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s-CL" sz="1600" b="1" i="0" u="none" strike="noStrike">
                        <a:solidFill>
                          <a:schemeClr val="tx1"/>
                        </a:solidFill>
                        <a:effectLst/>
                        <a:latin typeface="Aptos" panose="020B0004020202020204" pitchFamily="34"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1" i="0" u="none" strike="noStrike" kern="1200">
                          <a:solidFill>
                            <a:schemeClr val="tx1"/>
                          </a:solidFill>
                          <a:effectLst/>
                          <a:latin typeface="Aptos" panose="020B0004020202020204" pitchFamily="34" charset="0"/>
                          <a:ea typeface="+mn-ea"/>
                          <a:cs typeface="+mn-cs"/>
                        </a:rPr>
                        <a:t>3M25</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1" i="0" u="none" strike="noStrike" kern="1200">
                          <a:solidFill>
                            <a:schemeClr val="tx1"/>
                          </a:solidFill>
                          <a:effectLst/>
                          <a:latin typeface="Aptos" panose="020B0004020202020204" pitchFamily="34" charset="0"/>
                          <a:ea typeface="+mn-ea"/>
                          <a:cs typeface="+mn-cs"/>
                        </a:rPr>
                        <a:t>3M24</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1" i="0" u="none" strike="noStrike" kern="1200">
                          <a:solidFill>
                            <a:schemeClr val="tx1"/>
                          </a:solidFill>
                          <a:effectLst/>
                          <a:latin typeface="Aptos" panose="020B0004020202020204" pitchFamily="34" charset="0"/>
                          <a:ea typeface="+mn-ea"/>
                          <a:cs typeface="+mn-cs"/>
                        </a:rPr>
                        <a:t>Var.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08095237"/>
                  </a:ext>
                </a:extLst>
              </a:tr>
              <a:tr h="330855">
                <a:tc>
                  <a:txBody>
                    <a:bodyPr/>
                    <a:lstStyle/>
                    <a:p>
                      <a:pPr algn="l" fontAlgn="ctr"/>
                      <a:r>
                        <a:rPr lang="en-US" sz="1400" b="0" i="0" u="none" strike="noStrike" kern="1200">
                          <a:solidFill>
                            <a:schemeClr val="tx1"/>
                          </a:solidFill>
                          <a:effectLst/>
                          <a:latin typeface="Aptos" panose="020B0004020202020204" pitchFamily="34" charset="0"/>
                          <a:ea typeface="+mn-ea"/>
                          <a:cs typeface="+mn-cs"/>
                        </a:rPr>
                        <a:t>Deferred Taxes From Asset Rev.</a:t>
                      </a:r>
                      <a:endParaRPr lang="es-CL" sz="1400" b="0" i="0" u="none" strike="noStrike" kern="1200">
                        <a:solidFill>
                          <a:schemeClr val="tx1"/>
                        </a:solidFill>
                        <a:effectLst/>
                        <a:latin typeface="Aptos" panose="020B0004020202020204" pitchFamily="34" charset="0"/>
                        <a:ea typeface="+mn-ea"/>
                        <a:cs typeface="+mn-cs"/>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2,820</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2,305</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22.4%</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endParaRPr lang="es-CL" sz="1600" b="0" i="0" u="none" strike="noStrike">
                        <a:solidFill>
                          <a:schemeClr val="tx1"/>
                        </a:solidFill>
                        <a:effectLst/>
                        <a:latin typeface="Aptos" panose="020B00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2,820</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2,305</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22.4%</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50659027"/>
                  </a:ext>
                </a:extLst>
              </a:tr>
              <a:tr h="330855">
                <a:tc>
                  <a:txBody>
                    <a:bodyPr/>
                    <a:lstStyle/>
                    <a:p>
                      <a:pPr algn="l" fontAlgn="ctr"/>
                      <a:r>
                        <a:rPr lang="en-US" sz="1400" b="0" i="0" u="none" strike="noStrike">
                          <a:solidFill>
                            <a:schemeClr val="tx1"/>
                          </a:solidFill>
                          <a:effectLst/>
                          <a:latin typeface="Aptos" panose="020B0004020202020204" pitchFamily="34" charset="0"/>
                        </a:rPr>
                        <a:t>Deferred Taxes From Other Concept </a:t>
                      </a:r>
                      <a:r>
                        <a:rPr lang="es-CL" sz="1400" b="0" i="0" u="none" strike="noStrike" baseline="30000">
                          <a:solidFill>
                            <a:schemeClr val="tx1"/>
                          </a:solidFill>
                          <a:effectLst/>
                          <a:latin typeface="Aptos" panose="020B0004020202020204" pitchFamily="34" charset="0"/>
                        </a:rPr>
                        <a:t>(1)</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1,389</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3,921</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N.A.</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endParaRPr lang="es-CL" sz="1600" b="0" i="0" u="none" strike="noStrike">
                        <a:solidFill>
                          <a:schemeClr val="tx1"/>
                        </a:solidFill>
                        <a:effectLst/>
                        <a:latin typeface="Aptos" panose="020B00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1,389</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3,921</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N.A.</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62176745"/>
                  </a:ext>
                </a:extLst>
              </a:tr>
              <a:tr h="330855">
                <a:tc>
                  <a:txBody>
                    <a:bodyPr/>
                    <a:lstStyle/>
                    <a:p>
                      <a:pPr algn="l" fontAlgn="ctr"/>
                      <a:r>
                        <a:rPr lang="es-CL" sz="1400" b="0" i="0" u="none" strike="noStrike" err="1">
                          <a:solidFill>
                            <a:schemeClr val="tx1"/>
                          </a:solidFill>
                          <a:effectLst/>
                          <a:latin typeface="Aptos" panose="020B0004020202020204" pitchFamily="34" charset="0"/>
                        </a:rPr>
                        <a:t>Current</a:t>
                      </a:r>
                      <a:r>
                        <a:rPr lang="es-CL" sz="1400" b="0" i="0" u="none" strike="noStrike">
                          <a:solidFill>
                            <a:schemeClr val="tx1"/>
                          </a:solidFill>
                          <a:effectLst/>
                          <a:latin typeface="Aptos" panose="020B0004020202020204" pitchFamily="34" charset="0"/>
                        </a:rPr>
                        <a:t> </a:t>
                      </a:r>
                      <a:r>
                        <a:rPr lang="es-CL" sz="1400" b="0" i="0" u="none" strike="noStrike" err="1">
                          <a:solidFill>
                            <a:schemeClr val="tx1"/>
                          </a:solidFill>
                          <a:effectLst/>
                          <a:latin typeface="Aptos" panose="020B0004020202020204" pitchFamily="34" charset="0"/>
                        </a:rPr>
                        <a:t>Tax</a:t>
                      </a:r>
                      <a:endParaRPr lang="es-CL" sz="1400" b="0" i="0" u="none" strike="noStrike">
                        <a:solidFill>
                          <a:schemeClr val="tx1"/>
                        </a:solidFill>
                        <a:effectLst/>
                        <a:latin typeface="Aptos" panose="020B00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17,087</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13,826</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23.6%</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r" fontAlgn="ctr"/>
                      <a:endParaRPr lang="es-CL" sz="1600" b="0" i="0" u="none" strike="noStrike">
                        <a:solidFill>
                          <a:schemeClr val="tx1"/>
                        </a:solidFill>
                        <a:effectLst/>
                        <a:latin typeface="Aptos" panose="020B00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17,087</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13,826</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23.6%</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185668857"/>
                  </a:ext>
                </a:extLst>
              </a:tr>
              <a:tr h="330855">
                <a:tc>
                  <a:txBody>
                    <a:bodyPr/>
                    <a:lstStyle/>
                    <a:p>
                      <a:pPr algn="l" fontAlgn="ctr"/>
                      <a:r>
                        <a:rPr lang="es-CL" sz="1400" b="1" i="0" u="none" strike="noStrike">
                          <a:solidFill>
                            <a:srgbClr val="FFFFFF"/>
                          </a:solidFill>
                          <a:effectLst/>
                          <a:latin typeface="Aptos" panose="020B0004020202020204" pitchFamily="34" charset="0"/>
                        </a:rPr>
                        <a:t>Total</a:t>
                      </a:r>
                    </a:p>
                  </a:txBody>
                  <a:tcPr marL="0" marR="0" marT="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38279B"/>
                    </a:solidFill>
                  </a:tcPr>
                </a:tc>
                <a:tc>
                  <a:txBody>
                    <a:bodyPr/>
                    <a:lstStyle/>
                    <a:p>
                      <a:pPr marL="0" algn="r" defTabSz="914400" rtl="0" eaLnBrk="1" fontAlgn="ctr" latinLnBrk="0" hangingPunct="1"/>
                      <a:r>
                        <a:rPr lang="es-CL" sz="1400" b="1" i="0" u="none" strike="noStrike" kern="1200">
                          <a:solidFill>
                            <a:srgbClr val="FFFFFF"/>
                          </a:solidFill>
                          <a:effectLst/>
                          <a:latin typeface="Aptos" panose="020B0004020202020204" pitchFamily="34" charset="0"/>
                          <a:ea typeface="+mn-ea"/>
                          <a:cs typeface="+mn-cs"/>
                        </a:rPr>
                        <a:t>-18,519</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8279B"/>
                    </a:solidFill>
                  </a:tcPr>
                </a:tc>
                <a:tc>
                  <a:txBody>
                    <a:bodyPr/>
                    <a:lstStyle/>
                    <a:p>
                      <a:pPr marL="0" algn="r" defTabSz="914400" rtl="0" eaLnBrk="1" fontAlgn="ctr" latinLnBrk="0" hangingPunct="1"/>
                      <a:r>
                        <a:rPr lang="es-CL" sz="1400" b="1" i="0" u="none" strike="noStrike" kern="1200">
                          <a:solidFill>
                            <a:srgbClr val="FFFFFF"/>
                          </a:solidFill>
                          <a:effectLst/>
                          <a:latin typeface="Aptos" panose="020B0004020202020204" pitchFamily="34" charset="0"/>
                          <a:ea typeface="+mn-ea"/>
                          <a:cs typeface="+mn-cs"/>
                        </a:rPr>
                        <a:t>-20,052</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8279B"/>
                    </a:solidFill>
                  </a:tcPr>
                </a:tc>
                <a:tc>
                  <a:txBody>
                    <a:bodyPr/>
                    <a:lstStyle/>
                    <a:p>
                      <a:pPr marL="0" algn="r" defTabSz="914400" rtl="0" eaLnBrk="1" fontAlgn="ctr" latinLnBrk="0" hangingPunct="1"/>
                      <a:r>
                        <a:rPr lang="es-CL" sz="1400" b="1" i="0" u="none" strike="noStrike" kern="1200">
                          <a:solidFill>
                            <a:srgbClr val="FFFFFF"/>
                          </a:solidFill>
                          <a:effectLst/>
                          <a:latin typeface="Aptos" panose="020B0004020202020204" pitchFamily="34" charset="0"/>
                          <a:ea typeface="+mn-ea"/>
                          <a:cs typeface="+mn-cs"/>
                        </a:rPr>
                        <a:t>-7.6%</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8279B"/>
                    </a:solidFill>
                  </a:tcPr>
                </a:tc>
                <a:tc>
                  <a:txBody>
                    <a:bodyPr/>
                    <a:lstStyle/>
                    <a:p>
                      <a:pPr algn="r" fontAlgn="ctr"/>
                      <a:endParaRPr lang="es-CL" sz="1600" b="1" i="0" u="none" strike="noStrike">
                        <a:solidFill>
                          <a:srgbClr val="FFFFFF"/>
                        </a:solidFill>
                        <a:effectLst/>
                        <a:latin typeface="Aptos" panose="020B0004020202020204" pitchFamily="34" charset="0"/>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s-CL" sz="1400" b="1" i="0" u="none" strike="noStrike" kern="1200">
                          <a:solidFill>
                            <a:srgbClr val="FFFFFF"/>
                          </a:solidFill>
                          <a:effectLst/>
                          <a:latin typeface="Aptos" panose="020B0004020202020204" pitchFamily="34" charset="0"/>
                          <a:ea typeface="+mn-ea"/>
                          <a:cs typeface="+mn-cs"/>
                        </a:rPr>
                        <a:t>-18,519</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8279B"/>
                    </a:solidFill>
                  </a:tcPr>
                </a:tc>
                <a:tc>
                  <a:txBody>
                    <a:bodyPr/>
                    <a:lstStyle/>
                    <a:p>
                      <a:pPr marL="0" algn="r" defTabSz="914400" rtl="0" eaLnBrk="1" fontAlgn="ctr" latinLnBrk="0" hangingPunct="1"/>
                      <a:r>
                        <a:rPr lang="es-CL" sz="1400" b="1" i="0" u="none" strike="noStrike" kern="1200">
                          <a:solidFill>
                            <a:srgbClr val="FFFFFF"/>
                          </a:solidFill>
                          <a:effectLst/>
                          <a:latin typeface="Aptos" panose="020B0004020202020204" pitchFamily="34" charset="0"/>
                          <a:ea typeface="+mn-ea"/>
                          <a:cs typeface="+mn-cs"/>
                        </a:rPr>
                        <a:t>-20,052</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8279B"/>
                    </a:solidFill>
                  </a:tcPr>
                </a:tc>
                <a:tc>
                  <a:txBody>
                    <a:bodyPr/>
                    <a:lstStyle/>
                    <a:p>
                      <a:pPr marL="0" algn="r" defTabSz="914400" rtl="0" eaLnBrk="1" fontAlgn="ctr" latinLnBrk="0" hangingPunct="1"/>
                      <a:r>
                        <a:rPr lang="es-CL" sz="1400" b="1" i="0" u="none" strike="noStrike" kern="1200">
                          <a:solidFill>
                            <a:srgbClr val="FFFFFF"/>
                          </a:solidFill>
                          <a:effectLst/>
                          <a:latin typeface="Aptos" panose="020B0004020202020204" pitchFamily="34" charset="0"/>
                          <a:ea typeface="+mn-ea"/>
                          <a:cs typeface="+mn-cs"/>
                        </a:rPr>
                        <a:t>-7.6%</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8279B"/>
                    </a:solidFill>
                  </a:tcPr>
                </a:tc>
                <a:extLst>
                  <a:ext uri="{0D108BD9-81ED-4DB2-BD59-A6C34878D82A}">
                    <a16:rowId xmlns:a16="http://schemas.microsoft.com/office/drawing/2014/main" val="444334577"/>
                  </a:ext>
                </a:extLst>
              </a:tr>
            </a:tbl>
          </a:graphicData>
        </a:graphic>
      </p:graphicFrame>
      <p:sp>
        <p:nvSpPr>
          <p:cNvPr id="6" name="Redondear rectángulo de esquina del mismo lado 2">
            <a:extLst>
              <a:ext uri="{FF2B5EF4-FFF2-40B4-BE49-F238E27FC236}">
                <a16:creationId xmlns:a16="http://schemas.microsoft.com/office/drawing/2014/main" id="{837462E6-A808-CA11-AD63-46624AB57400}"/>
              </a:ext>
            </a:extLst>
          </p:cNvPr>
          <p:cNvSpPr/>
          <p:nvPr/>
        </p:nvSpPr>
        <p:spPr>
          <a:xfrm rot="5400000">
            <a:off x="6999612" y="-558843"/>
            <a:ext cx="1911929" cy="8210800"/>
          </a:xfrm>
          <a:prstGeom prst="round2SameRect">
            <a:avLst>
              <a:gd name="adj1" fmla="val 6127"/>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a:t>v</a:t>
            </a:r>
          </a:p>
        </p:txBody>
      </p:sp>
      <p:graphicFrame>
        <p:nvGraphicFramePr>
          <p:cNvPr id="8" name="Tabla 7">
            <a:extLst>
              <a:ext uri="{FF2B5EF4-FFF2-40B4-BE49-F238E27FC236}">
                <a16:creationId xmlns:a16="http://schemas.microsoft.com/office/drawing/2014/main" id="{764C3EB9-5203-F28D-F375-5E7CE67E08EB}"/>
              </a:ext>
            </a:extLst>
          </p:cNvPr>
          <p:cNvGraphicFramePr>
            <a:graphicFrameLocks noGrp="1"/>
          </p:cNvGraphicFramePr>
          <p:nvPr>
            <p:extLst>
              <p:ext uri="{D42A27DB-BD31-4B8C-83A1-F6EECF244321}">
                <p14:modId xmlns:p14="http://schemas.microsoft.com/office/powerpoint/2010/main" val="4004969000"/>
              </p:ext>
            </p:extLst>
          </p:nvPr>
        </p:nvGraphicFramePr>
        <p:xfrm>
          <a:off x="3976920" y="2838152"/>
          <a:ext cx="7956000" cy="1692540"/>
        </p:xfrm>
        <a:graphic>
          <a:graphicData uri="http://schemas.openxmlformats.org/drawingml/2006/table">
            <a:tbl>
              <a:tblPr/>
              <a:tblGrid>
                <a:gridCol w="3060000">
                  <a:extLst>
                    <a:ext uri="{9D8B030D-6E8A-4147-A177-3AD203B41FA5}">
                      <a16:colId xmlns:a16="http://schemas.microsoft.com/office/drawing/2014/main" val="4177713168"/>
                    </a:ext>
                  </a:extLst>
                </a:gridCol>
                <a:gridCol w="792000">
                  <a:extLst>
                    <a:ext uri="{9D8B030D-6E8A-4147-A177-3AD203B41FA5}">
                      <a16:colId xmlns:a16="http://schemas.microsoft.com/office/drawing/2014/main" val="370858144"/>
                    </a:ext>
                  </a:extLst>
                </a:gridCol>
                <a:gridCol w="792000">
                  <a:extLst>
                    <a:ext uri="{9D8B030D-6E8A-4147-A177-3AD203B41FA5}">
                      <a16:colId xmlns:a16="http://schemas.microsoft.com/office/drawing/2014/main" val="25244334"/>
                    </a:ext>
                  </a:extLst>
                </a:gridCol>
                <a:gridCol w="792000">
                  <a:extLst>
                    <a:ext uri="{9D8B030D-6E8A-4147-A177-3AD203B41FA5}">
                      <a16:colId xmlns:a16="http://schemas.microsoft.com/office/drawing/2014/main" val="484391526"/>
                    </a:ext>
                  </a:extLst>
                </a:gridCol>
                <a:gridCol w="144000">
                  <a:extLst>
                    <a:ext uri="{9D8B030D-6E8A-4147-A177-3AD203B41FA5}">
                      <a16:colId xmlns:a16="http://schemas.microsoft.com/office/drawing/2014/main" val="751357514"/>
                    </a:ext>
                  </a:extLst>
                </a:gridCol>
                <a:gridCol w="792000">
                  <a:extLst>
                    <a:ext uri="{9D8B030D-6E8A-4147-A177-3AD203B41FA5}">
                      <a16:colId xmlns:a16="http://schemas.microsoft.com/office/drawing/2014/main" val="1315596342"/>
                    </a:ext>
                  </a:extLst>
                </a:gridCol>
                <a:gridCol w="792000">
                  <a:extLst>
                    <a:ext uri="{9D8B030D-6E8A-4147-A177-3AD203B41FA5}">
                      <a16:colId xmlns:a16="http://schemas.microsoft.com/office/drawing/2014/main" val="1705444923"/>
                    </a:ext>
                  </a:extLst>
                </a:gridCol>
                <a:gridCol w="792000">
                  <a:extLst>
                    <a:ext uri="{9D8B030D-6E8A-4147-A177-3AD203B41FA5}">
                      <a16:colId xmlns:a16="http://schemas.microsoft.com/office/drawing/2014/main" val="3387205787"/>
                    </a:ext>
                  </a:extLst>
                </a:gridCol>
              </a:tblGrid>
              <a:tr h="326664">
                <a:tc>
                  <a:txBody>
                    <a:bodyPr/>
                    <a:lstStyle/>
                    <a:p>
                      <a:pPr algn="l" fontAlgn="ctr"/>
                      <a:r>
                        <a:rPr lang="es-CL" sz="1400" b="1" i="0" u="none" strike="noStrike">
                          <a:solidFill>
                            <a:schemeClr val="tx1"/>
                          </a:solidFill>
                          <a:effectLst/>
                          <a:latin typeface="Aptos" panose="020B0004020202020204" pitchFamily="34" charset="0"/>
                        </a:rPr>
                        <a:t>Non-</a:t>
                      </a:r>
                      <a:r>
                        <a:rPr lang="es-CL" sz="1400" b="1" i="0" u="none" strike="noStrike" err="1">
                          <a:solidFill>
                            <a:schemeClr val="tx1"/>
                          </a:solidFill>
                          <a:effectLst/>
                          <a:latin typeface="Aptos" panose="020B0004020202020204" pitchFamily="34" charset="0"/>
                        </a:rPr>
                        <a:t>Operating</a:t>
                      </a:r>
                      <a:r>
                        <a:rPr lang="es-CL" sz="1400" b="1" i="0" u="none" strike="noStrike">
                          <a:solidFill>
                            <a:schemeClr val="tx1"/>
                          </a:solidFill>
                          <a:effectLst/>
                          <a:latin typeface="Aptos" panose="020B0004020202020204" pitchFamily="34" charset="0"/>
                        </a:rPr>
                        <a:t> </a:t>
                      </a:r>
                      <a:r>
                        <a:rPr lang="es-CL" sz="1400" b="1" i="0" u="none" strike="noStrike" err="1">
                          <a:solidFill>
                            <a:schemeClr val="tx1"/>
                          </a:solidFill>
                          <a:effectLst/>
                          <a:latin typeface="Aptos" panose="020B0004020202020204" pitchFamily="34" charset="0"/>
                        </a:rPr>
                        <a:t>Income</a:t>
                      </a:r>
                      <a:endParaRPr lang="es-CL" sz="1400" b="1" i="0" u="none" strike="noStrike">
                        <a:solidFill>
                          <a:schemeClr val="tx1"/>
                        </a:solidFill>
                        <a:effectLst/>
                        <a:latin typeface="Aptos" panose="020B0004020202020204" pitchFamily="34" charset="0"/>
                      </a:endParaRPr>
                    </a:p>
                    <a:p>
                      <a:pPr algn="l" fontAlgn="ctr"/>
                      <a:r>
                        <a:rPr lang="es-CL" sz="1400" b="1" i="0" u="none" strike="noStrike">
                          <a:solidFill>
                            <a:schemeClr val="tx1"/>
                          </a:solidFill>
                          <a:effectLst/>
                          <a:latin typeface="Aptos" panose="020B0004020202020204" pitchFamily="34" charset="0"/>
                        </a:rPr>
                        <a:t>(CLP </a:t>
                      </a:r>
                      <a:r>
                        <a:rPr lang="es-CL" sz="1400" b="1" i="0" u="none" strike="noStrike" err="1">
                          <a:solidFill>
                            <a:schemeClr val="tx1"/>
                          </a:solidFill>
                          <a:effectLst/>
                          <a:latin typeface="Aptos" panose="020B0004020202020204" pitchFamily="34" charset="0"/>
                        </a:rPr>
                        <a:t>Million</a:t>
                      </a:r>
                      <a:r>
                        <a:rPr lang="es-CL" sz="1400" b="1" i="0" u="none" strike="noStrike">
                          <a:solidFill>
                            <a:schemeClr val="tx1"/>
                          </a:solidFill>
                          <a:effectLst/>
                          <a:latin typeface="Aptos" panose="020B0004020202020204" pitchFamily="34" charset="0"/>
                        </a:rPr>
                        <a:t>)</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s-CL" sz="1400" b="1" i="0" u="none" strike="noStrike" kern="1200">
                          <a:solidFill>
                            <a:schemeClr val="tx1"/>
                          </a:solidFill>
                          <a:effectLst/>
                          <a:latin typeface="Aptos" panose="020B0004020202020204" pitchFamily="34" charset="0"/>
                          <a:ea typeface="+mn-ea"/>
                          <a:cs typeface="+mn-cs"/>
                        </a:rPr>
                        <a:t>1Q25</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s-CL" sz="1400" b="1" i="0" u="none" strike="noStrike" kern="1200">
                          <a:solidFill>
                            <a:schemeClr val="tx1"/>
                          </a:solidFill>
                          <a:effectLst/>
                          <a:latin typeface="Aptos" panose="020B0004020202020204" pitchFamily="34" charset="0"/>
                          <a:ea typeface="+mn-ea"/>
                          <a:cs typeface="+mn-cs"/>
                        </a:rPr>
                        <a:t>1Q24</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s-CL" sz="1400" b="1" i="0" u="none" strike="noStrike" kern="1200">
                          <a:solidFill>
                            <a:schemeClr val="tx1"/>
                          </a:solidFill>
                          <a:effectLst/>
                          <a:latin typeface="Aptos" panose="020B0004020202020204" pitchFamily="34" charset="0"/>
                          <a:ea typeface="+mn-ea"/>
                          <a:cs typeface="+mn-cs"/>
                        </a:rPr>
                        <a:t>Var.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s-CL" sz="1400" b="1" i="0" u="none" strike="noStrike">
                        <a:solidFill>
                          <a:schemeClr val="tx1"/>
                        </a:solidFill>
                        <a:effectLst/>
                        <a:latin typeface="Aptos" panose="020B0004020202020204" pitchFamily="34"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1" i="0" u="none" strike="noStrike" kern="1200">
                          <a:solidFill>
                            <a:schemeClr val="tx1"/>
                          </a:solidFill>
                          <a:effectLst/>
                          <a:latin typeface="Aptos" panose="020B0004020202020204" pitchFamily="34" charset="0"/>
                          <a:ea typeface="+mn-ea"/>
                          <a:cs typeface="+mn-cs"/>
                        </a:rPr>
                        <a:t>3M25</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1" i="0" u="none" strike="noStrike" kern="1200">
                          <a:solidFill>
                            <a:schemeClr val="tx1"/>
                          </a:solidFill>
                          <a:effectLst/>
                          <a:latin typeface="Aptos" panose="020B0004020202020204" pitchFamily="34" charset="0"/>
                          <a:ea typeface="+mn-ea"/>
                          <a:cs typeface="+mn-cs"/>
                        </a:rPr>
                        <a:t>3M24</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1" i="0" u="none" strike="noStrike" kern="1200">
                          <a:solidFill>
                            <a:schemeClr val="tx1"/>
                          </a:solidFill>
                          <a:effectLst/>
                          <a:latin typeface="Aptos" panose="020B0004020202020204" pitchFamily="34" charset="0"/>
                          <a:ea typeface="+mn-ea"/>
                          <a:cs typeface="+mn-cs"/>
                        </a:rPr>
                        <a:t>Var.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24798062"/>
                  </a:ext>
                </a:extLst>
              </a:tr>
              <a:tr h="316455">
                <a:tc>
                  <a:txBody>
                    <a:bodyPr/>
                    <a:lstStyle/>
                    <a:p>
                      <a:pPr algn="l" fontAlgn="ctr"/>
                      <a:r>
                        <a:rPr lang="es-CL" sz="1400" b="0" i="0" u="none" strike="noStrike">
                          <a:solidFill>
                            <a:schemeClr val="tx1"/>
                          </a:solidFill>
                          <a:effectLst/>
                          <a:latin typeface="Aptos" panose="020B0004020202020204" pitchFamily="34" charset="0"/>
                        </a:rPr>
                        <a:t>Net </a:t>
                      </a:r>
                      <a:r>
                        <a:rPr lang="es-CL" sz="1400" b="0" i="0" u="none" strike="noStrike" err="1">
                          <a:solidFill>
                            <a:schemeClr val="tx1"/>
                          </a:solidFill>
                          <a:effectLst/>
                          <a:latin typeface="Aptos" panose="020B0004020202020204" pitchFamily="34" charset="0"/>
                        </a:rPr>
                        <a:t>Financial</a:t>
                      </a:r>
                      <a:r>
                        <a:rPr lang="es-CL" sz="1400" b="0" i="0" u="none" strike="noStrike">
                          <a:solidFill>
                            <a:schemeClr val="tx1"/>
                          </a:solidFill>
                          <a:effectLst/>
                          <a:latin typeface="Aptos" panose="020B0004020202020204" pitchFamily="34" charset="0"/>
                        </a:rPr>
                        <a:t> </a:t>
                      </a:r>
                      <a:r>
                        <a:rPr lang="es-CL" sz="1400" b="0" i="0" u="none" strike="noStrike" err="1">
                          <a:solidFill>
                            <a:schemeClr val="tx1"/>
                          </a:solidFill>
                          <a:effectLst/>
                          <a:latin typeface="Aptos" panose="020B0004020202020204" pitchFamily="34" charset="0"/>
                        </a:rPr>
                        <a:t>Cost</a:t>
                      </a:r>
                      <a:endParaRPr lang="es-CL" sz="1400" b="0" i="0" u="none" strike="noStrike">
                        <a:solidFill>
                          <a:schemeClr val="tx1"/>
                        </a:solidFill>
                        <a:effectLst/>
                        <a:latin typeface="Aptos" panose="020B00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1,687</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731</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130.8%</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endParaRPr lang="es-CL" sz="1400" b="0" i="0" u="none" strike="noStrike">
                        <a:solidFill>
                          <a:schemeClr val="tx1"/>
                        </a:solidFill>
                        <a:effectLst/>
                        <a:latin typeface="Aptos" panose="020B00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1,687</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731</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130.8%</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84307751"/>
                  </a:ext>
                </a:extLst>
              </a:tr>
              <a:tr h="316455">
                <a:tc>
                  <a:txBody>
                    <a:bodyPr/>
                    <a:lstStyle/>
                    <a:p>
                      <a:pPr algn="l" fontAlgn="ctr"/>
                      <a:r>
                        <a:rPr lang="es-CL" sz="1400" b="0" i="0" u="none" strike="noStrike">
                          <a:solidFill>
                            <a:schemeClr val="tx1"/>
                          </a:solidFill>
                          <a:effectLst/>
                          <a:latin typeface="Aptos" panose="020B0004020202020204" pitchFamily="34" charset="0"/>
                        </a:rPr>
                        <a:t>Exchange </a:t>
                      </a:r>
                      <a:r>
                        <a:rPr lang="es-CL" sz="1400" b="0" i="0" u="none" strike="noStrike" err="1">
                          <a:solidFill>
                            <a:schemeClr val="tx1"/>
                          </a:solidFill>
                          <a:effectLst/>
                          <a:latin typeface="Aptos" panose="020B0004020202020204" pitchFamily="34" charset="0"/>
                        </a:rPr>
                        <a:t>Rate</a:t>
                      </a:r>
                      <a:r>
                        <a:rPr lang="es-CL" sz="1400" b="0" i="0" u="none" strike="noStrike">
                          <a:solidFill>
                            <a:schemeClr val="tx1"/>
                          </a:solidFill>
                          <a:effectLst/>
                          <a:latin typeface="Aptos" panose="020B0004020202020204" pitchFamily="34" charset="0"/>
                        </a:rPr>
                        <a:t> </a:t>
                      </a:r>
                      <a:r>
                        <a:rPr lang="es-CL" sz="1400" b="0" i="0" u="none" strike="noStrike" err="1">
                          <a:solidFill>
                            <a:schemeClr val="tx1"/>
                          </a:solidFill>
                          <a:effectLst/>
                          <a:latin typeface="Aptos" panose="020B0004020202020204" pitchFamily="34" charset="0"/>
                        </a:rPr>
                        <a:t>Differences</a:t>
                      </a:r>
                      <a:endParaRPr lang="es-CL" sz="1400" b="0" i="0" u="none" strike="noStrike">
                        <a:solidFill>
                          <a:schemeClr val="tx1"/>
                        </a:solidFill>
                        <a:effectLst/>
                        <a:latin typeface="Aptos" panose="020B00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1,972</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5,675</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N.A.</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endParaRPr lang="es-CL" sz="1400" b="0" i="0" u="none" strike="noStrike">
                        <a:solidFill>
                          <a:schemeClr val="tx1"/>
                        </a:solidFill>
                        <a:effectLst/>
                        <a:latin typeface="Aptos" panose="020B00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1,972</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5,675</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N.A.</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54006185"/>
                  </a:ext>
                </a:extLst>
              </a:tr>
              <a:tr h="316455">
                <a:tc>
                  <a:txBody>
                    <a:bodyPr/>
                    <a:lstStyle/>
                    <a:p>
                      <a:pPr algn="l" fontAlgn="ctr"/>
                      <a:r>
                        <a:rPr lang="es-CL" sz="1400" b="0" i="0" u="none" strike="noStrike" err="1">
                          <a:solidFill>
                            <a:schemeClr val="tx1"/>
                          </a:solidFill>
                          <a:effectLst/>
                          <a:latin typeface="Aptos" panose="020B0004020202020204" pitchFamily="34" charset="0"/>
                        </a:rPr>
                        <a:t>Results</a:t>
                      </a:r>
                      <a:r>
                        <a:rPr lang="es-CL" sz="1400" b="0" i="0" u="none" strike="noStrike">
                          <a:solidFill>
                            <a:schemeClr val="tx1"/>
                          </a:solidFill>
                          <a:effectLst/>
                          <a:latin typeface="Aptos" panose="020B0004020202020204" pitchFamily="34" charset="0"/>
                        </a:rPr>
                        <a:t> </a:t>
                      </a:r>
                      <a:r>
                        <a:rPr lang="es-CL" sz="1400" b="0" i="0" u="none" strike="noStrike" err="1">
                          <a:solidFill>
                            <a:schemeClr val="tx1"/>
                          </a:solidFill>
                          <a:effectLst/>
                          <a:latin typeface="Aptos" panose="020B0004020202020204" pitchFamily="34" charset="0"/>
                        </a:rPr>
                        <a:t>of</a:t>
                      </a:r>
                      <a:r>
                        <a:rPr lang="es-CL" sz="1400" b="0" i="0" u="none" strike="noStrike">
                          <a:solidFill>
                            <a:schemeClr val="tx1"/>
                          </a:solidFill>
                          <a:effectLst/>
                          <a:latin typeface="Aptos" panose="020B0004020202020204" pitchFamily="34" charset="0"/>
                        </a:rPr>
                        <a:t> </a:t>
                      </a:r>
                      <a:r>
                        <a:rPr lang="es-CL" sz="1400" b="0" i="0" u="none" strike="noStrike" err="1">
                          <a:solidFill>
                            <a:schemeClr val="tx1"/>
                          </a:solidFill>
                          <a:effectLst/>
                          <a:latin typeface="Aptos" panose="020B0004020202020204" pitchFamily="34" charset="0"/>
                        </a:rPr>
                        <a:t>Indexation</a:t>
                      </a:r>
                      <a:r>
                        <a:rPr lang="es-CL" sz="1400" b="0" i="0" u="none" strike="noStrike">
                          <a:solidFill>
                            <a:schemeClr val="tx1"/>
                          </a:solidFill>
                          <a:effectLst/>
                          <a:latin typeface="Aptos" panose="020B0004020202020204" pitchFamily="34" charset="0"/>
                        </a:rPr>
                        <a:t> </a:t>
                      </a:r>
                      <a:r>
                        <a:rPr lang="es-CL" sz="1400" b="0" i="0" u="none" strike="noStrike" err="1">
                          <a:solidFill>
                            <a:schemeClr val="tx1"/>
                          </a:solidFill>
                          <a:effectLst/>
                          <a:latin typeface="Aptos" panose="020B0004020202020204" pitchFamily="34" charset="0"/>
                        </a:rPr>
                        <a:t>Units</a:t>
                      </a:r>
                      <a:endParaRPr lang="es-CL" sz="1400" b="0" i="0" u="none" strike="noStrike">
                        <a:solidFill>
                          <a:schemeClr val="tx1"/>
                        </a:solidFill>
                        <a:effectLst/>
                        <a:latin typeface="Aptos" panose="020B00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9,339</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5,802</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61.0%</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rgbClr val="FFFFFF"/>
                    </a:solidFill>
                  </a:tcPr>
                </a:tc>
                <a:tc>
                  <a:txBody>
                    <a:bodyPr/>
                    <a:lstStyle/>
                    <a:p>
                      <a:pPr algn="r" fontAlgn="ctr"/>
                      <a:endParaRPr lang="es-CL" sz="1400" b="0" i="0" u="none" strike="noStrike">
                        <a:solidFill>
                          <a:schemeClr val="tx1"/>
                        </a:solidFill>
                        <a:effectLst/>
                        <a:latin typeface="Aptos" panose="020B00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9,339</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5,802</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chemeClr val="tx1"/>
                          </a:solidFill>
                          <a:effectLst/>
                          <a:latin typeface="Aptos" panose="020B0004020202020204" pitchFamily="34" charset="0"/>
                          <a:ea typeface="+mn-ea"/>
                          <a:cs typeface="+mn-cs"/>
                        </a:rPr>
                        <a:t>61.0%</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931338174"/>
                  </a:ext>
                </a:extLst>
              </a:tr>
              <a:tr h="316455">
                <a:tc>
                  <a:txBody>
                    <a:bodyPr/>
                    <a:lstStyle/>
                    <a:p>
                      <a:pPr algn="l" fontAlgn="ctr"/>
                      <a:r>
                        <a:rPr lang="es-CL" sz="1400" b="1" i="0" u="none" strike="noStrike">
                          <a:solidFill>
                            <a:srgbClr val="FFFFFF"/>
                          </a:solidFill>
                          <a:effectLst/>
                          <a:latin typeface="Aptos" panose="020B0004020202020204" pitchFamily="34" charset="0"/>
                        </a:rPr>
                        <a:t>Non-</a:t>
                      </a:r>
                      <a:r>
                        <a:rPr lang="es-CL" sz="1400" b="1" i="0" u="none" strike="noStrike" err="1">
                          <a:solidFill>
                            <a:srgbClr val="FFFFFF"/>
                          </a:solidFill>
                          <a:effectLst/>
                          <a:latin typeface="Aptos" panose="020B0004020202020204" pitchFamily="34" charset="0"/>
                        </a:rPr>
                        <a:t>Operating</a:t>
                      </a:r>
                      <a:r>
                        <a:rPr lang="es-CL" sz="1400" b="1" i="0" u="none" strike="noStrike">
                          <a:solidFill>
                            <a:srgbClr val="FFFFFF"/>
                          </a:solidFill>
                          <a:effectLst/>
                          <a:latin typeface="Aptos" panose="020B0004020202020204" pitchFamily="34" charset="0"/>
                        </a:rPr>
                        <a:t> </a:t>
                      </a:r>
                      <a:r>
                        <a:rPr lang="es-CL" sz="1400" b="1" i="0" u="none" strike="noStrike" err="1">
                          <a:solidFill>
                            <a:srgbClr val="FFFFFF"/>
                          </a:solidFill>
                          <a:effectLst/>
                          <a:latin typeface="Aptos" panose="020B0004020202020204" pitchFamily="34" charset="0"/>
                        </a:rPr>
                        <a:t>Income</a:t>
                      </a:r>
                      <a:endParaRPr lang="es-CL" sz="1400" b="1" i="0" u="none" strike="noStrike">
                        <a:solidFill>
                          <a:srgbClr val="FFFFFF"/>
                        </a:solidFill>
                        <a:effectLst/>
                        <a:latin typeface="Aptos" panose="020B0004020202020204" pitchFamily="34" charset="0"/>
                      </a:endParaRPr>
                    </a:p>
                  </a:txBody>
                  <a:tcPr marL="0" marR="0" marT="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38279B"/>
                    </a:solidFill>
                  </a:tcPr>
                </a:tc>
                <a:tc>
                  <a:txBody>
                    <a:bodyPr/>
                    <a:lstStyle/>
                    <a:p>
                      <a:pPr algn="r" fontAlgn="ctr"/>
                      <a:r>
                        <a:rPr lang="es-CL" sz="1400" b="1" i="0" u="none" strike="noStrike" kern="1200">
                          <a:solidFill>
                            <a:srgbClr val="FFFFFF"/>
                          </a:solidFill>
                          <a:effectLst/>
                          <a:latin typeface="Aptos" panose="020B0004020202020204" pitchFamily="34" charset="0"/>
                          <a:ea typeface="+mn-ea"/>
                          <a:cs typeface="+mn-cs"/>
                        </a:rPr>
                        <a:t>-12,998</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8279B"/>
                    </a:solidFill>
                  </a:tcPr>
                </a:tc>
                <a:tc>
                  <a:txBody>
                    <a:bodyPr/>
                    <a:lstStyle/>
                    <a:p>
                      <a:pPr algn="r" fontAlgn="ctr"/>
                      <a:r>
                        <a:rPr lang="es-CL" sz="1400" b="1" i="0" u="none" strike="noStrike" kern="1200">
                          <a:solidFill>
                            <a:srgbClr val="FFFFFF"/>
                          </a:solidFill>
                          <a:effectLst/>
                          <a:latin typeface="Aptos" panose="020B0004020202020204" pitchFamily="34" charset="0"/>
                          <a:ea typeface="+mn-ea"/>
                          <a:cs typeface="+mn-cs"/>
                        </a:rPr>
                        <a:t>-858</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8279B"/>
                    </a:solidFill>
                  </a:tcPr>
                </a:tc>
                <a:tc>
                  <a:txBody>
                    <a:bodyPr/>
                    <a:lstStyle/>
                    <a:p>
                      <a:pPr algn="r" fontAlgn="ctr"/>
                      <a:r>
                        <a:rPr lang="es-CL" sz="1400" b="1" i="0" u="none" strike="noStrike" kern="1200">
                          <a:solidFill>
                            <a:srgbClr val="FFFFFF"/>
                          </a:solidFill>
                          <a:effectLst/>
                          <a:latin typeface="Aptos" panose="020B0004020202020204" pitchFamily="34" charset="0"/>
                          <a:ea typeface="+mn-ea"/>
                          <a:cs typeface="+mn-cs"/>
                        </a:rPr>
                        <a:t>1414.2%</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8279B"/>
                    </a:solidFill>
                  </a:tcPr>
                </a:tc>
                <a:tc>
                  <a:txBody>
                    <a:bodyPr/>
                    <a:lstStyle/>
                    <a:p>
                      <a:pPr algn="r" fontAlgn="ctr"/>
                      <a:endParaRPr lang="es-CL" sz="1400" b="1" i="0" u="none" strike="noStrike">
                        <a:solidFill>
                          <a:srgbClr val="FFFFFF"/>
                        </a:solidFill>
                        <a:effectLst/>
                        <a:latin typeface="Aptos" panose="020B0004020202020204" pitchFamily="34" charset="0"/>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s-CL" sz="1400" b="1" i="0" u="none" strike="noStrike" kern="1200">
                          <a:solidFill>
                            <a:srgbClr val="FFFFFF"/>
                          </a:solidFill>
                          <a:effectLst/>
                          <a:latin typeface="Aptos" panose="020B0004020202020204" pitchFamily="34" charset="0"/>
                          <a:ea typeface="+mn-ea"/>
                          <a:cs typeface="+mn-cs"/>
                        </a:rPr>
                        <a:t>-12,998</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8279B"/>
                    </a:solidFill>
                  </a:tcPr>
                </a:tc>
                <a:tc>
                  <a:txBody>
                    <a:bodyPr/>
                    <a:lstStyle/>
                    <a:p>
                      <a:pPr algn="r" fontAlgn="ctr"/>
                      <a:r>
                        <a:rPr lang="es-CL" sz="1400" b="1" i="0" u="none" strike="noStrike" kern="1200">
                          <a:solidFill>
                            <a:srgbClr val="FFFFFF"/>
                          </a:solidFill>
                          <a:effectLst/>
                          <a:latin typeface="Aptos" panose="020B0004020202020204" pitchFamily="34" charset="0"/>
                          <a:ea typeface="+mn-ea"/>
                          <a:cs typeface="+mn-cs"/>
                        </a:rPr>
                        <a:t>-858</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8279B"/>
                    </a:solidFill>
                  </a:tcPr>
                </a:tc>
                <a:tc>
                  <a:txBody>
                    <a:bodyPr/>
                    <a:lstStyle/>
                    <a:p>
                      <a:pPr algn="r" fontAlgn="ctr"/>
                      <a:r>
                        <a:rPr lang="es-CL" sz="1400" b="1" i="0" u="none" strike="noStrike" kern="1200">
                          <a:solidFill>
                            <a:srgbClr val="FFFFFF"/>
                          </a:solidFill>
                          <a:effectLst/>
                          <a:latin typeface="Aptos" panose="020B0004020202020204" pitchFamily="34" charset="0"/>
                          <a:ea typeface="+mn-ea"/>
                          <a:cs typeface="+mn-cs"/>
                        </a:rPr>
                        <a:t>1414.2%</a:t>
                      </a: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8279B"/>
                    </a:solidFill>
                  </a:tcPr>
                </a:tc>
                <a:extLst>
                  <a:ext uri="{0D108BD9-81ED-4DB2-BD59-A6C34878D82A}">
                    <a16:rowId xmlns:a16="http://schemas.microsoft.com/office/drawing/2014/main" val="3288415429"/>
                  </a:ext>
                </a:extLst>
              </a:tr>
            </a:tbl>
          </a:graphicData>
        </a:graphic>
      </p:graphicFrame>
      <p:sp>
        <p:nvSpPr>
          <p:cNvPr id="10" name="Rectángulo: esquinas redondeadas 9">
            <a:extLst>
              <a:ext uri="{FF2B5EF4-FFF2-40B4-BE49-F238E27FC236}">
                <a16:creationId xmlns:a16="http://schemas.microsoft.com/office/drawing/2014/main" id="{1F2D5756-F662-82D0-450F-2CD3EFE09C88}"/>
              </a:ext>
            </a:extLst>
          </p:cNvPr>
          <p:cNvSpPr/>
          <p:nvPr/>
        </p:nvSpPr>
        <p:spPr>
          <a:xfrm>
            <a:off x="297349" y="1093736"/>
            <a:ext cx="11635571" cy="1667393"/>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schemeClr val="tx1"/>
              </a:solidFill>
              <a:latin typeface="Lufga" pitchFamily="2" charset="77"/>
            </a:endParaRPr>
          </a:p>
        </p:txBody>
      </p:sp>
      <p:sp>
        <p:nvSpPr>
          <p:cNvPr id="11" name="CuadroTexto 10">
            <a:extLst>
              <a:ext uri="{FF2B5EF4-FFF2-40B4-BE49-F238E27FC236}">
                <a16:creationId xmlns:a16="http://schemas.microsoft.com/office/drawing/2014/main" id="{E92AE28A-777F-896A-BCAC-FCED8386439F}"/>
              </a:ext>
            </a:extLst>
          </p:cNvPr>
          <p:cNvSpPr txBox="1"/>
          <p:nvPr/>
        </p:nvSpPr>
        <p:spPr>
          <a:xfrm>
            <a:off x="423302" y="1254715"/>
            <a:ext cx="11383663" cy="1300484"/>
          </a:xfrm>
          <a:prstGeom prst="rect">
            <a:avLst/>
          </a:prstGeom>
          <a:noFill/>
        </p:spPr>
        <p:txBody>
          <a:bodyPr wrap="square" rtlCol="0">
            <a:spAutoFit/>
          </a:bodyPr>
          <a:lstStyle/>
          <a:p>
            <a:pPr algn="just" defTabSz="457200">
              <a:lnSpc>
                <a:spcPct val="125000"/>
              </a:lnSpc>
              <a:spcBef>
                <a:spcPts val="1200"/>
              </a:spcBef>
              <a:buClr>
                <a:schemeClr val="accent1"/>
              </a:buClr>
            </a:pPr>
            <a:r>
              <a:rPr lang="en-US" sz="1400" dirty="0">
                <a:solidFill>
                  <a:schemeClr val="tx2"/>
                </a:solidFill>
                <a:latin typeface="Montserrat" panose="00000500000000000000" pitchFamily="2" charset="0"/>
                <a:cs typeface="Poppins" pitchFamily="2" charset="77"/>
              </a:rPr>
              <a:t>The </a:t>
            </a:r>
            <a:r>
              <a:rPr lang="en-US" sz="1400" b="1" dirty="0">
                <a:solidFill>
                  <a:schemeClr val="tx2"/>
                </a:solidFill>
                <a:latin typeface="Montserrat" panose="00000500000000000000" pitchFamily="2" charset="0"/>
                <a:cs typeface="Poppins" pitchFamily="2" charset="77"/>
              </a:rPr>
              <a:t>Non-Operating Result</a:t>
            </a:r>
            <a:r>
              <a:rPr lang="en-US" sz="1400" dirty="0">
                <a:solidFill>
                  <a:schemeClr val="tx2"/>
                </a:solidFill>
                <a:latin typeface="Montserrat" panose="00000500000000000000" pitchFamily="2" charset="0"/>
                <a:cs typeface="Poppins" pitchFamily="2" charset="77"/>
              </a:rPr>
              <a:t> increased significantly compared to 1Q24, mainly due to negative foreign exchange differences—unlike in 1Q24—and a 61.0% higher result from Inflation-Indexed Units versus the same period.</a:t>
            </a:r>
          </a:p>
          <a:p>
            <a:pPr algn="just" defTabSz="457200">
              <a:lnSpc>
                <a:spcPct val="125000"/>
              </a:lnSpc>
              <a:spcBef>
                <a:spcPts val="1200"/>
              </a:spcBef>
              <a:buClr>
                <a:schemeClr val="accent1"/>
              </a:buClr>
            </a:pPr>
            <a:r>
              <a:rPr lang="en-US" sz="1400" b="1" dirty="0">
                <a:solidFill>
                  <a:schemeClr val="tx2"/>
                </a:solidFill>
                <a:latin typeface="Montserrat" panose="00000500000000000000" pitchFamily="2" charset="0"/>
                <a:cs typeface="Poppins" pitchFamily="2" charset="77"/>
              </a:rPr>
              <a:t>Income tax </a:t>
            </a:r>
            <a:r>
              <a:rPr lang="en-US" sz="1400" dirty="0">
                <a:solidFill>
                  <a:schemeClr val="tx2"/>
                </a:solidFill>
                <a:latin typeface="Montserrat" panose="00000500000000000000" pitchFamily="2" charset="0"/>
                <a:cs typeface="Poppins" pitchFamily="2" charset="77"/>
              </a:rPr>
              <a:t>decreased by 7.6% YoY, </a:t>
            </a:r>
            <a:r>
              <a:rPr lang="en-US" sz="1400">
                <a:solidFill>
                  <a:schemeClr val="tx2"/>
                </a:solidFill>
                <a:latin typeface="Montserrat" panose="00000500000000000000" pitchFamily="2" charset="0"/>
                <a:cs typeface="Poppins" pitchFamily="2" charset="77"/>
              </a:rPr>
              <a:t>driven by </a:t>
            </a:r>
            <a:r>
              <a:rPr lang="en-US" sz="1400" dirty="0">
                <a:solidFill>
                  <a:schemeClr val="tx2"/>
                </a:solidFill>
                <a:latin typeface="Montserrat" panose="00000500000000000000" pitchFamily="2" charset="0"/>
                <a:cs typeface="Poppins" pitchFamily="2" charset="77"/>
              </a:rPr>
              <a:t>a positive variation in deferred taxes compared </a:t>
            </a:r>
            <a:r>
              <a:rPr lang="en-US" sz="1400">
                <a:solidFill>
                  <a:schemeClr val="tx2"/>
                </a:solidFill>
                <a:latin typeface="Montserrat" panose="00000500000000000000" pitchFamily="2" charset="0"/>
                <a:cs typeface="Poppins" pitchFamily="2" charset="77"/>
              </a:rPr>
              <a:t>to 1Q24, </a:t>
            </a:r>
            <a:r>
              <a:rPr lang="en-US" sz="1400" dirty="0">
                <a:solidFill>
                  <a:schemeClr val="tx2"/>
                </a:solidFill>
                <a:latin typeface="Montserrat" panose="00000500000000000000" pitchFamily="2" charset="0"/>
                <a:cs typeface="Poppins" pitchFamily="2" charset="77"/>
              </a:rPr>
              <a:t>partially offset by a 23.6% increase in current tax.</a:t>
            </a:r>
            <a:endParaRPr lang="es-ES" sz="1400" dirty="0">
              <a:solidFill>
                <a:schemeClr val="tx2"/>
              </a:solidFill>
              <a:latin typeface="Montserrat" panose="00000500000000000000" pitchFamily="2" charset="0"/>
              <a:cs typeface="Poppins" pitchFamily="2" charset="77"/>
            </a:endParaRPr>
          </a:p>
        </p:txBody>
      </p:sp>
      <p:sp>
        <p:nvSpPr>
          <p:cNvPr id="14" name="CuadroTexto 13">
            <a:extLst>
              <a:ext uri="{FF2B5EF4-FFF2-40B4-BE49-F238E27FC236}">
                <a16:creationId xmlns:a16="http://schemas.microsoft.com/office/drawing/2014/main" id="{DB67B596-3787-F3AE-CFB6-FB33342BDBEC}"/>
              </a:ext>
            </a:extLst>
          </p:cNvPr>
          <p:cNvSpPr txBox="1"/>
          <p:nvPr/>
        </p:nvSpPr>
        <p:spPr>
          <a:xfrm>
            <a:off x="491795" y="207049"/>
            <a:ext cx="9422225" cy="553998"/>
          </a:xfrm>
          <a:prstGeom prst="rect">
            <a:avLst/>
          </a:prstGeom>
          <a:noFill/>
        </p:spPr>
        <p:txBody>
          <a:bodyPr wrap="square" rtlCol="0">
            <a:spAutoFit/>
          </a:bodyPr>
          <a:lstStyle/>
          <a:p>
            <a:r>
              <a:rPr lang="es-CL" sz="3000" b="1">
                <a:solidFill>
                  <a:schemeClr val="accent3"/>
                </a:solidFill>
                <a:latin typeface="Poppins" pitchFamily="2" charset="77"/>
                <a:cs typeface="Poppins" pitchFamily="2" charset="77"/>
              </a:rPr>
              <a:t>2.9</a:t>
            </a:r>
            <a:r>
              <a:rPr lang="es-CL" sz="3000" b="1">
                <a:solidFill>
                  <a:schemeClr val="tx2"/>
                </a:solidFill>
                <a:latin typeface="Poppins" pitchFamily="2" charset="77"/>
                <a:cs typeface="Poppins" pitchFamily="2" charset="77"/>
              </a:rPr>
              <a:t> </a:t>
            </a:r>
            <a:r>
              <a:rPr lang="es-CL" sz="3000" b="1" err="1">
                <a:solidFill>
                  <a:schemeClr val="tx2"/>
                </a:solidFill>
                <a:latin typeface="Poppins" pitchFamily="2" charset="77"/>
                <a:cs typeface="Poppins" pitchFamily="2" charset="77"/>
              </a:rPr>
              <a:t>Tax</a:t>
            </a:r>
            <a:r>
              <a:rPr lang="es-CL" sz="3000" b="1">
                <a:solidFill>
                  <a:schemeClr val="tx2"/>
                </a:solidFill>
                <a:latin typeface="Poppins" pitchFamily="2" charset="77"/>
                <a:cs typeface="Poppins" pitchFamily="2" charset="77"/>
              </a:rPr>
              <a:t> and Non-</a:t>
            </a:r>
            <a:r>
              <a:rPr lang="es-CL" sz="3000" b="1" err="1">
                <a:solidFill>
                  <a:schemeClr val="tx2"/>
                </a:solidFill>
                <a:latin typeface="Poppins" pitchFamily="2" charset="77"/>
                <a:cs typeface="Poppins" pitchFamily="2" charset="77"/>
              </a:rPr>
              <a:t>Operating</a:t>
            </a:r>
            <a:r>
              <a:rPr lang="es-CL" sz="3000" b="1">
                <a:solidFill>
                  <a:schemeClr val="tx2"/>
                </a:solidFill>
                <a:latin typeface="Poppins" pitchFamily="2" charset="77"/>
                <a:cs typeface="Poppins" pitchFamily="2" charset="77"/>
              </a:rPr>
              <a:t> </a:t>
            </a:r>
            <a:r>
              <a:rPr lang="es-CL" sz="3000" b="1" err="1">
                <a:solidFill>
                  <a:schemeClr val="tx2"/>
                </a:solidFill>
                <a:latin typeface="Poppins" pitchFamily="2" charset="77"/>
                <a:cs typeface="Poppins" pitchFamily="2" charset="77"/>
              </a:rPr>
              <a:t>Income</a:t>
            </a:r>
            <a:endParaRPr lang="es-CL" sz="3000" b="1">
              <a:solidFill>
                <a:schemeClr val="tx2"/>
              </a:solidFill>
              <a:latin typeface="Poppins" pitchFamily="2" charset="77"/>
              <a:cs typeface="Poppins" pitchFamily="2" charset="77"/>
            </a:endParaRPr>
          </a:p>
        </p:txBody>
      </p:sp>
      <p:sp>
        <p:nvSpPr>
          <p:cNvPr id="2" name="Marcador de número de diapositiva 1">
            <a:extLst>
              <a:ext uri="{FF2B5EF4-FFF2-40B4-BE49-F238E27FC236}">
                <a16:creationId xmlns:a16="http://schemas.microsoft.com/office/drawing/2014/main" id="{4CAC3B11-DEBC-4994-666A-D9C415B533D2}"/>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17</a:t>
            </a:fld>
            <a:endParaRPr lang="es-CL"/>
          </a:p>
        </p:txBody>
      </p:sp>
      <p:sp>
        <p:nvSpPr>
          <p:cNvPr id="3" name="CuadroTexto 2">
            <a:extLst>
              <a:ext uri="{FF2B5EF4-FFF2-40B4-BE49-F238E27FC236}">
                <a16:creationId xmlns:a16="http://schemas.microsoft.com/office/drawing/2014/main" id="{AA82B76B-F632-E645-B8D0-5113BC6B5E68}"/>
              </a:ext>
            </a:extLst>
          </p:cNvPr>
          <p:cNvSpPr txBox="1"/>
          <p:nvPr/>
        </p:nvSpPr>
        <p:spPr>
          <a:xfrm>
            <a:off x="0" y="6613459"/>
            <a:ext cx="10802471" cy="246221"/>
          </a:xfrm>
          <a:prstGeom prst="rect">
            <a:avLst/>
          </a:prstGeom>
          <a:noFill/>
        </p:spPr>
        <p:txBody>
          <a:bodyPr wrap="square" rtlCol="0">
            <a:spAutoFit/>
          </a:bodyPr>
          <a:lstStyle/>
          <a:p>
            <a:pPr algn="just"/>
            <a:r>
              <a:rPr lang="en-US" sz="1000" baseline="30000">
                <a:solidFill>
                  <a:srgbClr val="404040"/>
                </a:solidFill>
                <a:latin typeface="Montserrat" panose="00000500000000000000" pitchFamily="2" charset="0"/>
                <a:ea typeface="Times New Roman" panose="02020603050405020304" pitchFamily="18" charset="0"/>
                <a:cs typeface="Poppins" panose="00000500000000000000" pitchFamily="2" charset="0"/>
              </a:rPr>
              <a:t>(1) </a:t>
            </a:r>
            <a:r>
              <a:rPr lang="en-US" sz="1000">
                <a:solidFill>
                  <a:srgbClr val="404040"/>
                </a:solidFill>
                <a:latin typeface="Montserrat" panose="00000500000000000000" pitchFamily="2" charset="0"/>
                <a:ea typeface="Times New Roman" panose="02020603050405020304" pitchFamily="18" charset="0"/>
                <a:cs typeface="Poppins" panose="00000500000000000000" pitchFamily="2" charset="0"/>
              </a:rPr>
              <a:t>It includes deferred taxes except those related to asset revaluation. The deferred tax related to asset revaluation is subtracted from the total deferred tax</a:t>
            </a:r>
            <a:r>
              <a:rPr lang="en-US" sz="1000" baseline="30000">
                <a:solidFill>
                  <a:srgbClr val="404040"/>
                </a:solidFill>
                <a:latin typeface="Montserrat" panose="00000500000000000000" pitchFamily="2" charset="0"/>
                <a:ea typeface="Times New Roman" panose="02020603050405020304" pitchFamily="18" charset="0"/>
                <a:cs typeface="Poppins" panose="00000500000000000000" pitchFamily="2" charset="0"/>
              </a:rPr>
              <a:t>.</a:t>
            </a:r>
            <a:endParaRPr lang="es-ES" sz="1000">
              <a:solidFill>
                <a:srgbClr val="404040"/>
              </a:solidFill>
              <a:latin typeface="Montserrat" panose="00000500000000000000" pitchFamily="2" charset="0"/>
              <a:ea typeface="Times New Roman" panose="02020603050405020304" pitchFamily="18" charset="0"/>
              <a:cs typeface="Poppins" panose="00000500000000000000" pitchFamily="2" charset="0"/>
            </a:endParaRPr>
          </a:p>
        </p:txBody>
      </p:sp>
    </p:spTree>
    <p:extLst>
      <p:ext uri="{BB962C8B-B14F-4D97-AF65-F5344CB8AC3E}">
        <p14:creationId xmlns:p14="http://schemas.microsoft.com/office/powerpoint/2010/main" val="4540471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2659D-F9B0-73D3-CCFB-C85E7DC73EE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C72A999-046F-48D0-9C93-361ADD5CEE45}"/>
              </a:ext>
            </a:extLst>
          </p:cNvPr>
          <p:cNvGraphicFramePr>
            <a:graphicFrameLocks noChangeAspect="1"/>
          </p:cNvGraphicFramePr>
          <p:nvPr>
            <p:custDataLst>
              <p:tags r:id="rId1"/>
            </p:custDataLst>
            <p:extLst>
              <p:ext uri="{D42A27DB-BD31-4B8C-83A1-F6EECF244321}">
                <p14:modId xmlns:p14="http://schemas.microsoft.com/office/powerpoint/2010/main" val="1812812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0" imgW="395" imgH="396" progId="TCLayout.ActiveDocument.1">
                  <p:embed/>
                </p:oleObj>
              </mc:Choice>
              <mc:Fallback>
                <p:oleObj name="Diapositiva de think-cell" r:id="rId40" imgW="395" imgH="396" progId="TCLayout.ActiveDocument.1">
                  <p:embed/>
                  <p:pic>
                    <p:nvPicPr>
                      <p:cNvPr id="7" name="think-cell data - do not delete" hidden="1">
                        <a:extLst>
                          <a:ext uri="{FF2B5EF4-FFF2-40B4-BE49-F238E27FC236}">
                            <a16:creationId xmlns:a16="http://schemas.microsoft.com/office/drawing/2014/main" id="{FC72A999-046F-48D0-9C93-361ADD5CEE45}"/>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38" name="Rectángulo: esquinas redondeadas 37">
            <a:extLst>
              <a:ext uri="{FF2B5EF4-FFF2-40B4-BE49-F238E27FC236}">
                <a16:creationId xmlns:a16="http://schemas.microsoft.com/office/drawing/2014/main" id="{5888C14E-C847-3D89-E700-B72718512160}"/>
              </a:ext>
            </a:extLst>
          </p:cNvPr>
          <p:cNvSpPr/>
          <p:nvPr/>
        </p:nvSpPr>
        <p:spPr>
          <a:xfrm>
            <a:off x="288858" y="2951163"/>
            <a:ext cx="11588617" cy="353307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schemeClr val="tx1"/>
              </a:solidFill>
              <a:latin typeface="Lufga" pitchFamily="2" charset="77"/>
            </a:endParaRPr>
          </a:p>
        </p:txBody>
      </p:sp>
      <p:cxnSp>
        <p:nvCxnSpPr>
          <p:cNvPr id="4" name="Conector recto 3">
            <a:extLst>
              <a:ext uri="{FF2B5EF4-FFF2-40B4-BE49-F238E27FC236}">
                <a16:creationId xmlns:a16="http://schemas.microsoft.com/office/drawing/2014/main" id="{417F008D-F280-0036-21A0-5C8A3B95DD8C}"/>
              </a:ext>
            </a:extLst>
          </p:cNvPr>
          <p:cNvCxnSpPr/>
          <p:nvPr>
            <p:custDataLst>
              <p:tags r:id="rId2"/>
            </p:custDataLst>
          </p:nvPr>
        </p:nvCxnSpPr>
        <p:spPr bwMode="auto">
          <a:xfrm>
            <a:off x="1735138" y="5600700"/>
            <a:ext cx="5715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Conector recto 8">
            <a:extLst>
              <a:ext uri="{FF2B5EF4-FFF2-40B4-BE49-F238E27FC236}">
                <a16:creationId xmlns:a16="http://schemas.microsoft.com/office/drawing/2014/main" id="{CD832CF7-1EC7-23F9-947B-8D31604EEC84}"/>
              </a:ext>
            </a:extLst>
          </p:cNvPr>
          <p:cNvCxnSpPr/>
          <p:nvPr>
            <p:custDataLst>
              <p:tags r:id="rId3"/>
            </p:custDataLst>
          </p:nvPr>
        </p:nvCxnSpPr>
        <p:spPr bwMode="auto">
          <a:xfrm>
            <a:off x="6880225" y="4171950"/>
            <a:ext cx="5715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Conector recto 7">
            <a:extLst>
              <a:ext uri="{FF2B5EF4-FFF2-40B4-BE49-F238E27FC236}">
                <a16:creationId xmlns:a16="http://schemas.microsoft.com/office/drawing/2014/main" id="{89753DCC-F744-98D8-8D90-B999AC9EE64F}"/>
              </a:ext>
            </a:extLst>
          </p:cNvPr>
          <p:cNvCxnSpPr/>
          <p:nvPr>
            <p:custDataLst>
              <p:tags r:id="rId4"/>
            </p:custDataLst>
          </p:nvPr>
        </p:nvCxnSpPr>
        <p:spPr bwMode="auto">
          <a:xfrm>
            <a:off x="5594350" y="4171950"/>
            <a:ext cx="5715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Conector recto 5">
            <a:extLst>
              <a:ext uri="{FF2B5EF4-FFF2-40B4-BE49-F238E27FC236}">
                <a16:creationId xmlns:a16="http://schemas.microsoft.com/office/drawing/2014/main" id="{463F4CCC-CAA0-E3A4-630D-DC54D92DFED2}"/>
              </a:ext>
            </a:extLst>
          </p:cNvPr>
          <p:cNvCxnSpPr/>
          <p:nvPr>
            <p:custDataLst>
              <p:tags r:id="rId5"/>
            </p:custDataLst>
          </p:nvPr>
        </p:nvCxnSpPr>
        <p:spPr bwMode="auto">
          <a:xfrm>
            <a:off x="4308475" y="4113213"/>
            <a:ext cx="5715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Conector recto 4">
            <a:extLst>
              <a:ext uri="{FF2B5EF4-FFF2-40B4-BE49-F238E27FC236}">
                <a16:creationId xmlns:a16="http://schemas.microsoft.com/office/drawing/2014/main" id="{231FD766-2D94-82C5-0FB2-80E0CFADB14D}"/>
              </a:ext>
            </a:extLst>
          </p:cNvPr>
          <p:cNvCxnSpPr/>
          <p:nvPr>
            <p:custDataLst>
              <p:tags r:id="rId6"/>
            </p:custDataLst>
          </p:nvPr>
        </p:nvCxnSpPr>
        <p:spPr bwMode="auto">
          <a:xfrm>
            <a:off x="3022600" y="3257550"/>
            <a:ext cx="5715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Conector recto 10">
            <a:extLst>
              <a:ext uri="{FF2B5EF4-FFF2-40B4-BE49-F238E27FC236}">
                <a16:creationId xmlns:a16="http://schemas.microsoft.com/office/drawing/2014/main" id="{7B514076-6C32-89CA-38F7-5F6AE26E348F}"/>
              </a:ext>
            </a:extLst>
          </p:cNvPr>
          <p:cNvCxnSpPr/>
          <p:nvPr>
            <p:custDataLst>
              <p:tags r:id="rId7"/>
            </p:custDataLst>
          </p:nvPr>
        </p:nvCxnSpPr>
        <p:spPr bwMode="auto">
          <a:xfrm>
            <a:off x="9453563" y="4257675"/>
            <a:ext cx="5715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Conector recto 9">
            <a:extLst>
              <a:ext uri="{FF2B5EF4-FFF2-40B4-BE49-F238E27FC236}">
                <a16:creationId xmlns:a16="http://schemas.microsoft.com/office/drawing/2014/main" id="{51A60A02-D179-99E9-7C14-483DD737EDF1}"/>
              </a:ext>
            </a:extLst>
          </p:cNvPr>
          <p:cNvCxnSpPr/>
          <p:nvPr>
            <p:custDataLst>
              <p:tags r:id="rId8"/>
            </p:custDataLst>
          </p:nvPr>
        </p:nvCxnSpPr>
        <p:spPr bwMode="auto">
          <a:xfrm>
            <a:off x="8167688" y="4229100"/>
            <a:ext cx="5715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5" name="Rectángulo 54">
            <a:extLst>
              <a:ext uri="{FF2B5EF4-FFF2-40B4-BE49-F238E27FC236}">
                <a16:creationId xmlns:a16="http://schemas.microsoft.com/office/drawing/2014/main" id="{619D340A-A5BA-4DF7-63CF-5AEE6F7C42F6}"/>
              </a:ext>
            </a:extLst>
          </p:cNvPr>
          <p:cNvSpPr/>
          <p:nvPr>
            <p:custDataLst>
              <p:tags r:id="rId9"/>
            </p:custDataLst>
          </p:nvPr>
        </p:nvSpPr>
        <p:spPr bwMode="auto">
          <a:xfrm>
            <a:off x="6165850" y="4168775"/>
            <a:ext cx="714375" cy="6350"/>
          </a:xfrm>
          <a:prstGeom prst="rect">
            <a:avLst/>
          </a:prstGeom>
          <a:solidFill>
            <a:srgbClr val="753DED"/>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graphicFrame>
        <p:nvGraphicFramePr>
          <p:cNvPr id="47" name="Chart 3">
            <a:extLst>
              <a:ext uri="{FF2B5EF4-FFF2-40B4-BE49-F238E27FC236}">
                <a16:creationId xmlns:a16="http://schemas.microsoft.com/office/drawing/2014/main" id="{AB29ECC0-1E9C-1F5B-3475-277A826C3903}"/>
              </a:ext>
            </a:extLst>
          </p:cNvPr>
          <p:cNvGraphicFramePr/>
          <p:nvPr>
            <p:custDataLst>
              <p:tags r:id="rId10"/>
            </p:custDataLst>
            <p:extLst>
              <p:ext uri="{D42A27DB-BD31-4B8C-83A1-F6EECF244321}">
                <p14:modId xmlns:p14="http://schemas.microsoft.com/office/powerpoint/2010/main" val="191813243"/>
              </p:ext>
            </p:extLst>
          </p:nvPr>
        </p:nvGraphicFramePr>
        <p:xfrm>
          <a:off x="652463" y="3175000"/>
          <a:ext cx="10455275" cy="2836863"/>
        </p:xfrm>
        <a:graphic>
          <a:graphicData uri="http://schemas.openxmlformats.org/drawingml/2006/chart">
            <c:chart xmlns:c="http://schemas.openxmlformats.org/drawingml/2006/chart" xmlns:r="http://schemas.openxmlformats.org/officeDocument/2006/relationships" r:id="rId42"/>
          </a:graphicData>
        </a:graphic>
      </p:graphicFrame>
      <p:sp useBgFill="1">
        <p:nvSpPr>
          <p:cNvPr id="35" name="Forma libre: forma 34">
            <a:extLst>
              <a:ext uri="{FF2B5EF4-FFF2-40B4-BE49-F238E27FC236}">
                <a16:creationId xmlns:a16="http://schemas.microsoft.com/office/drawing/2014/main" id="{4050DA6C-87A9-0F37-35B2-C7B7C1BD0E12}"/>
              </a:ext>
            </a:extLst>
          </p:cNvPr>
          <p:cNvSpPr/>
          <p:nvPr>
            <p:custDataLst>
              <p:tags r:id="rId11"/>
            </p:custDataLst>
          </p:nvPr>
        </p:nvSpPr>
        <p:spPr bwMode="auto">
          <a:xfrm>
            <a:off x="966788" y="5627688"/>
            <a:ext cx="822326" cy="277813"/>
          </a:xfrm>
          <a:custGeom>
            <a:avLst/>
            <a:gdLst/>
            <a:ahLst/>
            <a:cxnLst/>
            <a:rect l="0" t="0" r="0" b="0"/>
            <a:pathLst>
              <a:path w="822326" h="277813">
                <a:moveTo>
                  <a:pt x="0" y="220662"/>
                </a:moveTo>
                <a:lnTo>
                  <a:pt x="822325" y="0"/>
                </a:lnTo>
                <a:lnTo>
                  <a:pt x="822325" y="57150"/>
                </a:lnTo>
                <a:lnTo>
                  <a:pt x="0" y="277812"/>
                </a:lnTo>
                <a:close/>
              </a:path>
            </a:pathLst>
          </a:custGeom>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useBgFill="1">
        <p:nvSpPr>
          <p:cNvPr id="42" name="Forma libre: forma 41">
            <a:extLst>
              <a:ext uri="{FF2B5EF4-FFF2-40B4-BE49-F238E27FC236}">
                <a16:creationId xmlns:a16="http://schemas.microsoft.com/office/drawing/2014/main" id="{F41A54EF-2FD9-1CEC-387D-65FE01611FE8}"/>
              </a:ext>
            </a:extLst>
          </p:cNvPr>
          <p:cNvSpPr/>
          <p:nvPr>
            <p:custDataLst>
              <p:tags r:id="rId12"/>
            </p:custDataLst>
          </p:nvPr>
        </p:nvSpPr>
        <p:spPr bwMode="auto">
          <a:xfrm>
            <a:off x="9971088" y="5627688"/>
            <a:ext cx="822326" cy="277813"/>
          </a:xfrm>
          <a:custGeom>
            <a:avLst/>
            <a:gdLst/>
            <a:ahLst/>
            <a:cxnLst/>
            <a:rect l="0" t="0" r="0" b="0"/>
            <a:pathLst>
              <a:path w="822326" h="277813">
                <a:moveTo>
                  <a:pt x="0" y="220662"/>
                </a:moveTo>
                <a:lnTo>
                  <a:pt x="822325" y="0"/>
                </a:lnTo>
                <a:lnTo>
                  <a:pt x="822325" y="57150"/>
                </a:lnTo>
                <a:lnTo>
                  <a:pt x="0" y="277812"/>
                </a:lnTo>
                <a:close/>
              </a:path>
            </a:pathLst>
          </a:custGeom>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1" name="Forma libre: forma 30">
            <a:extLst>
              <a:ext uri="{FF2B5EF4-FFF2-40B4-BE49-F238E27FC236}">
                <a16:creationId xmlns:a16="http://schemas.microsoft.com/office/drawing/2014/main" id="{80DAC585-5804-BDCE-05C1-21B4B395CFF7}"/>
              </a:ext>
            </a:extLst>
          </p:cNvPr>
          <p:cNvSpPr/>
          <p:nvPr>
            <p:custDataLst>
              <p:tags r:id="rId13"/>
            </p:custDataLst>
          </p:nvPr>
        </p:nvSpPr>
        <p:spPr bwMode="auto">
          <a:xfrm>
            <a:off x="966788" y="5627688"/>
            <a:ext cx="822326" cy="220663"/>
          </a:xfrm>
          <a:custGeom>
            <a:avLst/>
            <a:gdLst/>
            <a:ahLst/>
            <a:cxnLst/>
            <a:rect l="0" t="0" r="0" b="0"/>
            <a:pathLst>
              <a:path w="822326" h="220663">
                <a:moveTo>
                  <a:pt x="0" y="220662"/>
                </a:moveTo>
                <a:lnTo>
                  <a:pt x="8223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a:p>
        </p:txBody>
      </p:sp>
      <p:sp>
        <p:nvSpPr>
          <p:cNvPr id="33" name="Forma libre: forma 32">
            <a:extLst>
              <a:ext uri="{FF2B5EF4-FFF2-40B4-BE49-F238E27FC236}">
                <a16:creationId xmlns:a16="http://schemas.microsoft.com/office/drawing/2014/main" id="{F5834C95-7D11-C720-922E-F8FC8A77355C}"/>
              </a:ext>
            </a:extLst>
          </p:cNvPr>
          <p:cNvSpPr/>
          <p:nvPr>
            <p:custDataLst>
              <p:tags r:id="rId14"/>
            </p:custDataLst>
          </p:nvPr>
        </p:nvSpPr>
        <p:spPr bwMode="auto">
          <a:xfrm>
            <a:off x="966788" y="5684838"/>
            <a:ext cx="822326" cy="220663"/>
          </a:xfrm>
          <a:custGeom>
            <a:avLst/>
            <a:gdLst/>
            <a:ahLst/>
            <a:cxnLst/>
            <a:rect l="0" t="0" r="0" b="0"/>
            <a:pathLst>
              <a:path w="822326" h="220663">
                <a:moveTo>
                  <a:pt x="0" y="220662"/>
                </a:moveTo>
                <a:lnTo>
                  <a:pt x="8223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a:p>
        </p:txBody>
      </p:sp>
      <p:sp>
        <p:nvSpPr>
          <p:cNvPr id="36" name="Forma libre: forma 35">
            <a:extLst>
              <a:ext uri="{FF2B5EF4-FFF2-40B4-BE49-F238E27FC236}">
                <a16:creationId xmlns:a16="http://schemas.microsoft.com/office/drawing/2014/main" id="{ABE1B98A-7550-5317-1256-491B6C10C5CD}"/>
              </a:ext>
            </a:extLst>
          </p:cNvPr>
          <p:cNvSpPr/>
          <p:nvPr>
            <p:custDataLst>
              <p:tags r:id="rId15"/>
            </p:custDataLst>
          </p:nvPr>
        </p:nvSpPr>
        <p:spPr bwMode="auto">
          <a:xfrm>
            <a:off x="9971088" y="5627688"/>
            <a:ext cx="822326" cy="220663"/>
          </a:xfrm>
          <a:custGeom>
            <a:avLst/>
            <a:gdLst/>
            <a:ahLst/>
            <a:cxnLst/>
            <a:rect l="0" t="0" r="0" b="0"/>
            <a:pathLst>
              <a:path w="822326" h="220663">
                <a:moveTo>
                  <a:pt x="0" y="220662"/>
                </a:moveTo>
                <a:lnTo>
                  <a:pt x="8223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a:p>
        </p:txBody>
      </p:sp>
      <p:sp>
        <p:nvSpPr>
          <p:cNvPr id="37" name="Forma libre: forma 36">
            <a:extLst>
              <a:ext uri="{FF2B5EF4-FFF2-40B4-BE49-F238E27FC236}">
                <a16:creationId xmlns:a16="http://schemas.microsoft.com/office/drawing/2014/main" id="{25B301C3-E68D-1525-97D2-BBBDC1850232}"/>
              </a:ext>
            </a:extLst>
          </p:cNvPr>
          <p:cNvSpPr/>
          <p:nvPr>
            <p:custDataLst>
              <p:tags r:id="rId16"/>
            </p:custDataLst>
          </p:nvPr>
        </p:nvSpPr>
        <p:spPr bwMode="auto">
          <a:xfrm>
            <a:off x="9971088" y="5684838"/>
            <a:ext cx="822326" cy="220663"/>
          </a:xfrm>
          <a:custGeom>
            <a:avLst/>
            <a:gdLst/>
            <a:ahLst/>
            <a:cxnLst/>
            <a:rect l="0" t="0" r="0" b="0"/>
            <a:pathLst>
              <a:path w="822326" h="220663">
                <a:moveTo>
                  <a:pt x="0" y="220662"/>
                </a:moveTo>
                <a:lnTo>
                  <a:pt x="8223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a:p>
        </p:txBody>
      </p:sp>
      <p:cxnSp>
        <p:nvCxnSpPr>
          <p:cNvPr id="17" name="Conector recto 16">
            <a:extLst>
              <a:ext uri="{FF2B5EF4-FFF2-40B4-BE49-F238E27FC236}">
                <a16:creationId xmlns:a16="http://schemas.microsoft.com/office/drawing/2014/main" id="{21884691-9A81-ABA6-77EE-D4BBD3BA8F68}"/>
              </a:ext>
            </a:extLst>
          </p:cNvPr>
          <p:cNvCxnSpPr/>
          <p:nvPr>
            <p:custDataLst>
              <p:tags r:id="rId17"/>
            </p:custDataLst>
          </p:nvPr>
        </p:nvCxnSpPr>
        <p:spPr bwMode="auto">
          <a:xfrm>
            <a:off x="10382250" y="3181350"/>
            <a:ext cx="0" cy="8207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2" name="Conector recto 31">
            <a:extLst>
              <a:ext uri="{FF2B5EF4-FFF2-40B4-BE49-F238E27FC236}">
                <a16:creationId xmlns:a16="http://schemas.microsoft.com/office/drawing/2014/main" id="{1CBFF966-AB86-838E-07DF-ADF45F217682}"/>
              </a:ext>
            </a:extLst>
          </p:cNvPr>
          <p:cNvCxnSpPr/>
          <p:nvPr>
            <p:custDataLst>
              <p:tags r:id="rId18"/>
            </p:custDataLst>
          </p:nvPr>
        </p:nvCxnSpPr>
        <p:spPr bwMode="auto">
          <a:xfrm>
            <a:off x="6334125" y="3181350"/>
            <a:ext cx="40481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Conector recto 15">
            <a:extLst>
              <a:ext uri="{FF2B5EF4-FFF2-40B4-BE49-F238E27FC236}">
                <a16:creationId xmlns:a16="http://schemas.microsoft.com/office/drawing/2014/main" id="{A97EF869-80A5-97B1-14D9-05CF82129913}"/>
              </a:ext>
            </a:extLst>
          </p:cNvPr>
          <p:cNvCxnSpPr>
            <a:cxnSpLocks/>
          </p:cNvCxnSpPr>
          <p:nvPr>
            <p:custDataLst>
              <p:tags r:id="rId19"/>
            </p:custDataLst>
          </p:nvPr>
        </p:nvCxnSpPr>
        <p:spPr bwMode="auto">
          <a:xfrm>
            <a:off x="1377951" y="3181350"/>
            <a:ext cx="40481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Conector recto 14">
            <a:extLst>
              <a:ext uri="{FF2B5EF4-FFF2-40B4-BE49-F238E27FC236}">
                <a16:creationId xmlns:a16="http://schemas.microsoft.com/office/drawing/2014/main" id="{19A9279C-F005-7E6C-4445-3B37E91A2F67}"/>
              </a:ext>
            </a:extLst>
          </p:cNvPr>
          <p:cNvCxnSpPr/>
          <p:nvPr>
            <p:custDataLst>
              <p:tags r:id="rId20"/>
            </p:custDataLst>
          </p:nvPr>
        </p:nvCxnSpPr>
        <p:spPr bwMode="auto">
          <a:xfrm flipV="1">
            <a:off x="1377950" y="3181350"/>
            <a:ext cx="0" cy="21637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Marcador de texto 2">
            <a:extLst>
              <a:ext uri="{FF2B5EF4-FFF2-40B4-BE49-F238E27FC236}">
                <a16:creationId xmlns:a16="http://schemas.microsoft.com/office/drawing/2014/main" id="{6FB274BF-95B4-08E3-CB2A-D2202F6AE7E7}"/>
              </a:ext>
            </a:extLst>
          </p:cNvPr>
          <p:cNvSpPr>
            <a:spLocks noGrp="1"/>
          </p:cNvSpPr>
          <p:nvPr>
            <p:custDataLst>
              <p:tags r:id="rId21"/>
            </p:custDataLst>
          </p:nvPr>
        </p:nvSpPr>
        <p:spPr bwMode="auto">
          <a:xfrm>
            <a:off x="2200275" y="5988050"/>
            <a:ext cx="928688"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C11C76A-26E1-46E6-84F0-5C4235A7EFEA}" type="datetime'Oper''ati''''''''''''ng'''''' C''a''''sh ''''F''''''l''ow'''''">
              <a:rPr lang="es-CL" altLang="en-US" sz="1400" smtClean="0">
                <a:latin typeface="Montserrat" panose="00000500000000000000" pitchFamily="2" charset="0"/>
              </a:rPr>
              <a:pPr marL="0" lvl="0" indent="0" algn="ctr">
                <a:spcBef>
                  <a:spcPct val="0"/>
                </a:spcBef>
                <a:spcAft>
                  <a:spcPct val="0"/>
                </a:spcAft>
                <a:buNone/>
              </a:pPr>
              <a:t>Operating Cash Flow</a:t>
            </a:fld>
            <a:endParaRPr lang="es-CL" sz="1400">
              <a:latin typeface="Montserrat" panose="00000500000000000000" pitchFamily="2" charset="0"/>
              <a:sym typeface="Montserrat" panose="00000500000000000000" pitchFamily="2" charset="0"/>
            </a:endParaRPr>
          </a:p>
        </p:txBody>
      </p:sp>
      <p:sp>
        <p:nvSpPr>
          <p:cNvPr id="20" name="Marcador de texto 2">
            <a:extLst>
              <a:ext uri="{FF2B5EF4-FFF2-40B4-BE49-F238E27FC236}">
                <a16:creationId xmlns:a16="http://schemas.microsoft.com/office/drawing/2014/main" id="{576AB23E-2E28-E89A-2817-FE655EFD8D94}"/>
              </a:ext>
            </a:extLst>
          </p:cNvPr>
          <p:cNvSpPr>
            <a:spLocks noGrp="1"/>
          </p:cNvSpPr>
          <p:nvPr>
            <p:custDataLst>
              <p:tags r:id="rId22"/>
            </p:custDataLst>
          </p:nvPr>
        </p:nvSpPr>
        <p:spPr bwMode="auto">
          <a:xfrm>
            <a:off x="3636963" y="5988050"/>
            <a:ext cx="6302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523458-7371-426D-A5D2-07D3CFD6C76A}" type="datetime'''C''''''''AP''''''''''''''''''''''''''''EX'''''''''''''''''">
              <a:rPr lang="es-CL" altLang="en-US" sz="1400" smtClean="0">
                <a:latin typeface="Montserrat" panose="00000500000000000000" pitchFamily="2" charset="0"/>
              </a:rPr>
              <a:pPr marL="0" lvl="0" indent="0" algn="ctr">
                <a:spcBef>
                  <a:spcPct val="0"/>
                </a:spcBef>
                <a:spcAft>
                  <a:spcPct val="0"/>
                </a:spcAft>
                <a:buNone/>
              </a:pPr>
              <a:t>CAPEX</a:t>
            </a:fld>
            <a:endParaRPr lang="es-CL" sz="1400">
              <a:latin typeface="Montserrat" panose="00000500000000000000" pitchFamily="2" charset="0"/>
              <a:sym typeface="Montserrat" panose="00000500000000000000" pitchFamily="2" charset="0"/>
            </a:endParaRPr>
          </a:p>
        </p:txBody>
      </p:sp>
      <p:sp>
        <p:nvSpPr>
          <p:cNvPr id="21" name="Marcador de texto 2">
            <a:extLst>
              <a:ext uri="{FF2B5EF4-FFF2-40B4-BE49-F238E27FC236}">
                <a16:creationId xmlns:a16="http://schemas.microsoft.com/office/drawing/2014/main" id="{1833C855-E43A-B583-8AFD-ED8D3A5DF379}"/>
              </a:ext>
            </a:extLst>
          </p:cNvPr>
          <p:cNvSpPr>
            <a:spLocks noGrp="1"/>
          </p:cNvSpPr>
          <p:nvPr>
            <p:custDataLst>
              <p:tags r:id="rId23"/>
            </p:custDataLst>
          </p:nvPr>
        </p:nvSpPr>
        <p:spPr bwMode="gray">
          <a:xfrm>
            <a:off x="5003801" y="4046538"/>
            <a:ext cx="466725" cy="192088"/>
          </a:xfrm>
          <a:prstGeom prst="rect">
            <a:avLst/>
          </a:prstGeom>
          <a:solidFill>
            <a:srgbClr val="753DED"/>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D8C931F-6D99-4BD9-B1C0-C71A42728779}" type="datetime'''1'''''''''''',''''8''2''''''''''''''''''''''''3'''''">
              <a:rPr lang="es-CL" altLang="en-US" sz="1400" smtClean="0">
                <a:solidFill>
                  <a:schemeClr val="bg1"/>
                </a:solidFill>
                <a:effectLst/>
                <a:latin typeface="Montserrat" panose="00000500000000000000" pitchFamily="2" charset="0"/>
              </a:rPr>
              <a:pPr marL="0" lvl="0" indent="0" algn="ctr">
                <a:spcBef>
                  <a:spcPct val="0"/>
                </a:spcBef>
                <a:spcAft>
                  <a:spcPct val="0"/>
                </a:spcAft>
                <a:buNone/>
              </a:pPr>
              <a:t>1,823</a:t>
            </a:fld>
            <a:endParaRPr lang="es-CL" sz="1400">
              <a:solidFill>
                <a:schemeClr val="bg1"/>
              </a:solidFill>
              <a:latin typeface="Montserrat" panose="00000500000000000000" pitchFamily="2" charset="0"/>
              <a:sym typeface="Montserrat" panose="00000500000000000000" pitchFamily="2" charset="0"/>
            </a:endParaRPr>
          </a:p>
        </p:txBody>
      </p:sp>
      <p:sp>
        <p:nvSpPr>
          <p:cNvPr id="22" name="Marcador de texto 2">
            <a:extLst>
              <a:ext uri="{FF2B5EF4-FFF2-40B4-BE49-F238E27FC236}">
                <a16:creationId xmlns:a16="http://schemas.microsoft.com/office/drawing/2014/main" id="{7E965BC1-D0E8-F348-D370-0927DE0C51A7}"/>
              </a:ext>
            </a:extLst>
          </p:cNvPr>
          <p:cNvSpPr>
            <a:spLocks noGrp="1"/>
          </p:cNvSpPr>
          <p:nvPr>
            <p:custDataLst>
              <p:tags r:id="rId24"/>
            </p:custDataLst>
          </p:nvPr>
        </p:nvSpPr>
        <p:spPr bwMode="auto">
          <a:xfrm>
            <a:off x="4778375" y="5988050"/>
            <a:ext cx="917575"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F28C514-03B7-4348-BDA7-4417E02B24D3}" type="datetime'''''I''nt''er''''''est ''P''''ay''''m''en''''''''''t''''s'">
              <a:rPr lang="es-CL" altLang="en-US" sz="1400" smtClean="0">
                <a:latin typeface="Montserrat" panose="00000500000000000000" pitchFamily="2" charset="0"/>
              </a:rPr>
              <a:pPr marL="0" lvl="0" indent="0" algn="ctr">
                <a:spcBef>
                  <a:spcPct val="0"/>
                </a:spcBef>
                <a:spcAft>
                  <a:spcPct val="0"/>
                </a:spcAft>
                <a:buNone/>
              </a:pPr>
              <a:t>Interest Payments</a:t>
            </a:fld>
            <a:endParaRPr lang="es-CL" sz="1400">
              <a:latin typeface="Montserrat" panose="00000500000000000000" pitchFamily="2" charset="0"/>
              <a:sym typeface="Montserrat" panose="00000500000000000000" pitchFamily="2" charset="0"/>
            </a:endParaRPr>
          </a:p>
        </p:txBody>
      </p:sp>
      <p:sp>
        <p:nvSpPr>
          <p:cNvPr id="54" name="Marcador de texto 2">
            <a:extLst>
              <a:ext uri="{FF2B5EF4-FFF2-40B4-BE49-F238E27FC236}">
                <a16:creationId xmlns:a16="http://schemas.microsoft.com/office/drawing/2014/main" id="{7E48156E-6A95-A64B-8520-CD11DA6C5EEF}"/>
              </a:ext>
            </a:extLst>
          </p:cNvPr>
          <p:cNvSpPr>
            <a:spLocks noGrp="1"/>
          </p:cNvSpPr>
          <p:nvPr>
            <p:custDataLst>
              <p:tags r:id="rId25"/>
            </p:custDataLst>
          </p:nvPr>
        </p:nvSpPr>
        <p:spPr bwMode="gray">
          <a:xfrm>
            <a:off x="6438900" y="4076700"/>
            <a:ext cx="168275" cy="192088"/>
          </a:xfrm>
          <a:prstGeom prst="rect">
            <a:avLst/>
          </a:prstGeom>
          <a:solidFill>
            <a:srgbClr val="753DED"/>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6D0002-E264-46A6-B70D-3F169F0633A5}" type="datetime'''''''''''''''''''''''''''''''''''''0'''''''''''''''''">
              <a:rPr lang="es-CL" altLang="en-US" sz="1400" smtClean="0">
                <a:solidFill>
                  <a:schemeClr val="bg1"/>
                </a:solidFill>
                <a:effectLst/>
                <a:latin typeface="Montserrat" panose="00000500000000000000" pitchFamily="2" charset="0"/>
              </a:rPr>
              <a:pPr marL="0" indent="0" algn="ctr">
                <a:spcBef>
                  <a:spcPct val="0"/>
                </a:spcBef>
                <a:spcAft>
                  <a:spcPct val="0"/>
                </a:spcAft>
                <a:buNone/>
              </a:pPr>
              <a:t>0</a:t>
            </a:fld>
            <a:endParaRPr lang="es-CL" sz="1400">
              <a:solidFill>
                <a:schemeClr val="bg1"/>
              </a:solidFill>
              <a:latin typeface="Montserrat" panose="00000500000000000000" pitchFamily="2" charset="0"/>
              <a:sym typeface="Montserrat" panose="00000500000000000000" pitchFamily="2" charset="0"/>
            </a:endParaRPr>
          </a:p>
        </p:txBody>
      </p:sp>
      <p:sp>
        <p:nvSpPr>
          <p:cNvPr id="23" name="Marcador de texto 2">
            <a:extLst>
              <a:ext uri="{FF2B5EF4-FFF2-40B4-BE49-F238E27FC236}">
                <a16:creationId xmlns:a16="http://schemas.microsoft.com/office/drawing/2014/main" id="{328BE3A9-CCA5-3A57-83E6-CE390B3FFA2C}"/>
              </a:ext>
            </a:extLst>
          </p:cNvPr>
          <p:cNvSpPr>
            <a:spLocks noGrp="1"/>
          </p:cNvSpPr>
          <p:nvPr>
            <p:custDataLst>
              <p:tags r:id="rId26"/>
            </p:custDataLst>
          </p:nvPr>
        </p:nvSpPr>
        <p:spPr bwMode="auto">
          <a:xfrm>
            <a:off x="6064250" y="5988050"/>
            <a:ext cx="917575"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2A1FB71-74A1-4D57-ABD2-1442BC0C0716}" type="datetime'''''''Div''i''''d''''''''''e''nd'''' ''''Payme''n''t''s'''">
              <a:rPr lang="es-CL" altLang="en-US" sz="1400" smtClean="0">
                <a:latin typeface="Montserrat" panose="00000500000000000000" pitchFamily="2" charset="0"/>
              </a:rPr>
              <a:pPr marL="0" lvl="0" indent="0" algn="ctr">
                <a:spcBef>
                  <a:spcPct val="0"/>
                </a:spcBef>
                <a:spcAft>
                  <a:spcPct val="0"/>
                </a:spcAft>
                <a:buNone/>
              </a:pPr>
              <a:t>Dividend Payments</a:t>
            </a:fld>
            <a:endParaRPr lang="es-CL" sz="1400">
              <a:latin typeface="Montserrat" panose="00000500000000000000" pitchFamily="2" charset="0"/>
              <a:sym typeface="Montserrat" panose="00000500000000000000" pitchFamily="2" charset="0"/>
            </a:endParaRPr>
          </a:p>
        </p:txBody>
      </p:sp>
      <p:sp>
        <p:nvSpPr>
          <p:cNvPr id="24" name="Marcador de texto 2">
            <a:extLst>
              <a:ext uri="{FF2B5EF4-FFF2-40B4-BE49-F238E27FC236}">
                <a16:creationId xmlns:a16="http://schemas.microsoft.com/office/drawing/2014/main" id="{48578A17-ED80-12C7-81D5-95C14AABDDD4}"/>
              </a:ext>
            </a:extLst>
          </p:cNvPr>
          <p:cNvSpPr>
            <a:spLocks noGrp="1"/>
          </p:cNvSpPr>
          <p:nvPr>
            <p:custDataLst>
              <p:tags r:id="rId27"/>
            </p:custDataLst>
          </p:nvPr>
        </p:nvSpPr>
        <p:spPr bwMode="gray">
          <a:xfrm>
            <a:off x="7577138" y="4105275"/>
            <a:ext cx="465138" cy="192088"/>
          </a:xfrm>
          <a:prstGeom prst="rect">
            <a:avLst/>
          </a:prstGeom>
          <a:solidFill>
            <a:srgbClr val="753DED"/>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1252B48-181A-4DFB-B42D-DE18DD0C675B}" type="datetime'''''1'''''''''''''''''''''''',''''''''8''''3''''5'''''''">
              <a:rPr lang="es-CL" altLang="en-US" sz="1400" smtClean="0">
                <a:solidFill>
                  <a:schemeClr val="bg1"/>
                </a:solidFill>
                <a:effectLst/>
                <a:latin typeface="Montserrat" panose="00000500000000000000" pitchFamily="2" charset="0"/>
              </a:rPr>
              <a:pPr marL="0" lvl="0" indent="0" algn="ctr">
                <a:spcBef>
                  <a:spcPct val="0"/>
                </a:spcBef>
                <a:spcAft>
                  <a:spcPct val="0"/>
                </a:spcAft>
                <a:buNone/>
              </a:pPr>
              <a:t>1,835</a:t>
            </a:fld>
            <a:endParaRPr lang="es-CL" sz="1400">
              <a:solidFill>
                <a:schemeClr val="bg1"/>
              </a:solidFill>
              <a:latin typeface="Montserrat" panose="00000500000000000000" pitchFamily="2" charset="0"/>
              <a:sym typeface="Montserrat" panose="00000500000000000000" pitchFamily="2" charset="0"/>
            </a:endParaRPr>
          </a:p>
        </p:txBody>
      </p:sp>
      <p:sp>
        <p:nvSpPr>
          <p:cNvPr id="25" name="Marcador de texto 2">
            <a:extLst>
              <a:ext uri="{FF2B5EF4-FFF2-40B4-BE49-F238E27FC236}">
                <a16:creationId xmlns:a16="http://schemas.microsoft.com/office/drawing/2014/main" id="{9D3BED3E-A668-AACF-4176-AE7D63F5779D}"/>
              </a:ext>
            </a:extLst>
          </p:cNvPr>
          <p:cNvSpPr>
            <a:spLocks noGrp="1"/>
          </p:cNvSpPr>
          <p:nvPr>
            <p:custDataLst>
              <p:tags r:id="rId28"/>
            </p:custDataLst>
          </p:nvPr>
        </p:nvSpPr>
        <p:spPr bwMode="auto">
          <a:xfrm>
            <a:off x="7350125" y="5988050"/>
            <a:ext cx="917575"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A6FEDD1-99AC-4C03-AF9A-A2F103352E27}" type="datetime'''L''''e''''''''as''''e P''''ay''m''''''''''''''''en''''ts'''">
              <a:rPr lang="es-CL" altLang="en-US" sz="1400" smtClean="0">
                <a:latin typeface="Montserrat" panose="00000500000000000000" pitchFamily="2" charset="0"/>
              </a:rPr>
              <a:pPr marL="0" lvl="0" indent="0" algn="ctr">
                <a:spcBef>
                  <a:spcPct val="0"/>
                </a:spcBef>
                <a:spcAft>
                  <a:spcPct val="0"/>
                </a:spcAft>
                <a:buNone/>
              </a:pPr>
              <a:t>Lease Payments</a:t>
            </a:fld>
            <a:endParaRPr lang="es-CL" sz="1400">
              <a:latin typeface="Montserrat" panose="00000500000000000000" pitchFamily="2" charset="0"/>
              <a:sym typeface="Montserrat" panose="00000500000000000000" pitchFamily="2" charset="0"/>
            </a:endParaRPr>
          </a:p>
        </p:txBody>
      </p:sp>
      <p:sp>
        <p:nvSpPr>
          <p:cNvPr id="41" name="Marcador de texto 2">
            <a:extLst>
              <a:ext uri="{FF2B5EF4-FFF2-40B4-BE49-F238E27FC236}">
                <a16:creationId xmlns:a16="http://schemas.microsoft.com/office/drawing/2014/main" id="{7E48156E-6A95-A64B-8520-CD11DA6C5EEF}"/>
              </a:ext>
            </a:extLst>
          </p:cNvPr>
          <p:cNvSpPr>
            <a:spLocks noGrp="1"/>
          </p:cNvSpPr>
          <p:nvPr>
            <p:custDataLst>
              <p:tags r:id="rId29"/>
            </p:custDataLst>
          </p:nvPr>
        </p:nvSpPr>
        <p:spPr bwMode="gray">
          <a:xfrm>
            <a:off x="8909050" y="4148138"/>
            <a:ext cx="376238" cy="192088"/>
          </a:xfrm>
          <a:prstGeom prst="rect">
            <a:avLst/>
          </a:prstGeom>
          <a:solidFill>
            <a:srgbClr val="5894FF"/>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D3083FF-8D57-4B71-92C3-C237B1492A20}" type="datetime'''8''''''9''''''''''''''''''''''7'''''''''''''''''''">
              <a:rPr lang="es-CL" altLang="en-US" sz="1400" smtClean="0">
                <a:solidFill>
                  <a:schemeClr val="bg1"/>
                </a:solidFill>
                <a:effectLst/>
                <a:latin typeface="Montserrat" panose="00000500000000000000" pitchFamily="2" charset="0"/>
              </a:rPr>
              <a:pPr marL="0" indent="0" algn="ctr">
                <a:spcBef>
                  <a:spcPct val="0"/>
                </a:spcBef>
                <a:spcAft>
                  <a:spcPct val="0"/>
                </a:spcAft>
                <a:buNone/>
              </a:pPr>
              <a:t>897</a:t>
            </a:fld>
            <a:endParaRPr lang="es-CL" sz="1400">
              <a:solidFill>
                <a:schemeClr val="bg1"/>
              </a:solidFill>
              <a:latin typeface="Montserrat" panose="00000500000000000000" pitchFamily="2" charset="0"/>
              <a:sym typeface="Montserrat" panose="00000500000000000000" pitchFamily="2" charset="0"/>
            </a:endParaRPr>
          </a:p>
        </p:txBody>
      </p:sp>
      <p:sp>
        <p:nvSpPr>
          <p:cNvPr id="26" name="Marcador de texto 2">
            <a:extLst>
              <a:ext uri="{FF2B5EF4-FFF2-40B4-BE49-F238E27FC236}">
                <a16:creationId xmlns:a16="http://schemas.microsoft.com/office/drawing/2014/main" id="{3731F9F4-3C79-40EF-3B12-4D9D9A4FA7DC}"/>
              </a:ext>
            </a:extLst>
          </p:cNvPr>
          <p:cNvSpPr>
            <a:spLocks noGrp="1"/>
          </p:cNvSpPr>
          <p:nvPr>
            <p:custDataLst>
              <p:tags r:id="rId30"/>
            </p:custDataLst>
          </p:nvPr>
        </p:nvSpPr>
        <p:spPr bwMode="auto">
          <a:xfrm>
            <a:off x="8786813" y="5988050"/>
            <a:ext cx="620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D5522E7-DB56-49A8-B558-A47452BFC3A4}" type="datetime'''''''''''''''''''''''''''''''''O''''''t''h''''''''''''''ers'">
              <a:rPr lang="es-CL" altLang="en-US" sz="1400" smtClean="0">
                <a:latin typeface="Montserrat" panose="00000500000000000000" pitchFamily="2" charset="0"/>
              </a:rPr>
              <a:pPr marL="0" lvl="0" indent="0" algn="ctr">
                <a:spcBef>
                  <a:spcPct val="0"/>
                </a:spcBef>
                <a:spcAft>
                  <a:spcPct val="0"/>
                </a:spcAft>
                <a:buNone/>
              </a:pPr>
              <a:t>Others</a:t>
            </a:fld>
            <a:endParaRPr lang="es-CL" sz="1400">
              <a:latin typeface="Montserrat" panose="00000500000000000000" pitchFamily="2" charset="0"/>
              <a:sym typeface="Montserrat" panose="00000500000000000000" pitchFamily="2" charset="0"/>
            </a:endParaRPr>
          </a:p>
        </p:txBody>
      </p:sp>
      <p:sp>
        <p:nvSpPr>
          <p:cNvPr id="27" name="Marcador de texto 2">
            <a:extLst>
              <a:ext uri="{FF2B5EF4-FFF2-40B4-BE49-F238E27FC236}">
                <a16:creationId xmlns:a16="http://schemas.microsoft.com/office/drawing/2014/main" id="{CE5285EA-5A2E-56F6-7E55-E4C443E0A6CE}"/>
              </a:ext>
            </a:extLst>
          </p:cNvPr>
          <p:cNvSpPr>
            <a:spLocks noGrp="1"/>
          </p:cNvSpPr>
          <p:nvPr>
            <p:custDataLst>
              <p:tags r:id="rId31"/>
            </p:custDataLst>
          </p:nvPr>
        </p:nvSpPr>
        <p:spPr bwMode="auto">
          <a:xfrm>
            <a:off x="9771063" y="5988050"/>
            <a:ext cx="1223963"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21A8F9D-9F0F-44DD-A73F-551C34AB9595}" type="datetime'''''Cash'' P''os''''''''''it''i''''o''n De''c''''-''2''''''5'">
              <a:rPr lang="es-CL" altLang="en-US" sz="1400" smtClean="0">
                <a:latin typeface="Montserrat" panose="00000500000000000000" pitchFamily="2" charset="0"/>
              </a:rPr>
              <a:pPr marL="0" lvl="0" indent="0" algn="ctr">
                <a:spcBef>
                  <a:spcPct val="0"/>
                </a:spcBef>
                <a:spcAft>
                  <a:spcPct val="0"/>
                </a:spcAft>
                <a:buNone/>
              </a:pPr>
              <a:t>Cash Position Dec-25</a:t>
            </a:fld>
            <a:endParaRPr lang="es-CL" sz="1400">
              <a:latin typeface="Montserrat" panose="00000500000000000000" pitchFamily="2" charset="0"/>
              <a:sym typeface="Montserrat" panose="00000500000000000000" pitchFamily="2" charset="0"/>
            </a:endParaRPr>
          </a:p>
        </p:txBody>
      </p:sp>
      <p:sp>
        <p:nvSpPr>
          <p:cNvPr id="63" name="Marcador de texto 2">
            <a:extLst>
              <a:ext uri="{FF2B5EF4-FFF2-40B4-BE49-F238E27FC236}">
                <a16:creationId xmlns:a16="http://schemas.microsoft.com/office/drawing/2014/main" id="{7E48156E-6A95-A64B-8520-CD11DA6C5EEF}"/>
              </a:ext>
            </a:extLst>
          </p:cNvPr>
          <p:cNvSpPr>
            <a:spLocks noGrp="1"/>
          </p:cNvSpPr>
          <p:nvPr>
            <p:custDataLst>
              <p:tags r:id="rId32"/>
            </p:custDataLst>
          </p:nvPr>
        </p:nvSpPr>
        <p:spPr bwMode="gray">
          <a:xfrm>
            <a:off x="1060450" y="5383213"/>
            <a:ext cx="6350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81F653A-9143-4678-A279-CB2F0A6F951D}" type="datetime'''''''''''1''''''''''''''15'''',''0''''''''''''''''''52'''">
              <a:rPr lang="es-CL" altLang="en-US" sz="1400" smtClean="0">
                <a:latin typeface="Montserrat" panose="00000500000000000000" pitchFamily="2" charset="0"/>
              </a:rPr>
              <a:pPr marL="0" indent="0" algn="ctr">
                <a:spcBef>
                  <a:spcPct val="0"/>
                </a:spcBef>
                <a:spcAft>
                  <a:spcPct val="0"/>
                </a:spcAft>
                <a:buNone/>
              </a:pPr>
              <a:t>115,052</a:t>
            </a:fld>
            <a:endParaRPr lang="es-CL" sz="1400">
              <a:latin typeface="Montserrat" panose="00000500000000000000" pitchFamily="2" charset="0"/>
              <a:sym typeface="Montserrat" panose="00000500000000000000" pitchFamily="2" charset="0"/>
            </a:endParaRPr>
          </a:p>
        </p:txBody>
      </p:sp>
      <p:sp>
        <p:nvSpPr>
          <p:cNvPr id="65" name="Marcador de texto 2">
            <a:extLst>
              <a:ext uri="{FF2B5EF4-FFF2-40B4-BE49-F238E27FC236}">
                <a16:creationId xmlns:a16="http://schemas.microsoft.com/office/drawing/2014/main" id="{7E48156E-6A95-A64B-8520-CD11DA6C5EEF}"/>
              </a:ext>
            </a:extLst>
          </p:cNvPr>
          <p:cNvSpPr>
            <a:spLocks noGrp="1"/>
          </p:cNvSpPr>
          <p:nvPr>
            <p:custDataLst>
              <p:tags r:id="rId33"/>
            </p:custDataLst>
          </p:nvPr>
        </p:nvSpPr>
        <p:spPr bwMode="gray">
          <a:xfrm>
            <a:off x="10047288" y="4040188"/>
            <a:ext cx="669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70CA91F-DB72-427F-9209-873B60E9473D}" type="datetime'15''''''''''7'''''''',6''''''''''''37'''">
              <a:rPr lang="es-CL" altLang="en-US" sz="1400" smtClean="0">
                <a:latin typeface="Montserrat" panose="00000500000000000000" pitchFamily="2" charset="0"/>
              </a:rPr>
              <a:pPr marL="0" indent="0" algn="ctr">
                <a:spcBef>
                  <a:spcPct val="0"/>
                </a:spcBef>
                <a:spcAft>
                  <a:spcPct val="0"/>
                </a:spcAft>
                <a:buNone/>
              </a:pPr>
              <a:t>157,637</a:t>
            </a:fld>
            <a:endParaRPr lang="es-CL" sz="1400">
              <a:latin typeface="Montserrat" panose="00000500000000000000" pitchFamily="2" charset="0"/>
              <a:sym typeface="Montserrat" panose="00000500000000000000" pitchFamily="2" charset="0"/>
            </a:endParaRPr>
          </a:p>
        </p:txBody>
      </p:sp>
      <p:sp>
        <p:nvSpPr>
          <p:cNvPr id="45" name="Marcador de texto 2">
            <a:extLst>
              <a:ext uri="{FF2B5EF4-FFF2-40B4-BE49-F238E27FC236}">
                <a16:creationId xmlns:a16="http://schemas.microsoft.com/office/drawing/2014/main" id="{7E48156E-6A95-A64B-8520-CD11DA6C5EEF}"/>
              </a:ext>
            </a:extLst>
          </p:cNvPr>
          <p:cNvSpPr>
            <a:spLocks noGrp="1"/>
          </p:cNvSpPr>
          <p:nvPr>
            <p:custDataLst>
              <p:tags r:id="rId34"/>
            </p:custDataLst>
          </p:nvPr>
        </p:nvSpPr>
        <p:spPr bwMode="gray">
          <a:xfrm>
            <a:off x="2351088" y="4333875"/>
            <a:ext cx="6254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05B646B-0ECE-41B6-A674-C7AD54F6E9BE}" type="datetime'''''''''''''''''''''74'''''''''''''''''''''''''',2''''7''''9'">
              <a:rPr lang="es-CL" altLang="en-US" sz="1400" smtClean="0">
                <a:solidFill>
                  <a:schemeClr val="bg1"/>
                </a:solidFill>
                <a:effectLst/>
                <a:latin typeface="Montserrat" panose="00000500000000000000" pitchFamily="2" charset="0"/>
                <a:sym typeface="Montserrat" panose="00000500000000000000" pitchFamily="2" charset="0"/>
              </a:rPr>
              <a:pPr marL="0" indent="0" algn="ctr">
                <a:spcBef>
                  <a:spcPct val="0"/>
                </a:spcBef>
                <a:spcAft>
                  <a:spcPct val="0"/>
                </a:spcAft>
                <a:buNone/>
              </a:pPr>
              <a:t>74,279</a:t>
            </a:fld>
            <a:endParaRPr lang="es-CL" sz="1400">
              <a:solidFill>
                <a:schemeClr val="bg1"/>
              </a:solidFill>
              <a:latin typeface="Montserrat" panose="00000500000000000000" pitchFamily="2" charset="0"/>
              <a:sym typeface="Montserrat" panose="00000500000000000000" pitchFamily="2" charset="0"/>
            </a:endParaRPr>
          </a:p>
        </p:txBody>
      </p:sp>
      <p:sp>
        <p:nvSpPr>
          <p:cNvPr id="46" name="Marcador de texto 2">
            <a:extLst>
              <a:ext uri="{FF2B5EF4-FFF2-40B4-BE49-F238E27FC236}">
                <a16:creationId xmlns:a16="http://schemas.microsoft.com/office/drawing/2014/main" id="{7E48156E-6A95-A64B-8520-CD11DA6C5EEF}"/>
              </a:ext>
            </a:extLst>
          </p:cNvPr>
          <p:cNvSpPr>
            <a:spLocks noGrp="1"/>
          </p:cNvSpPr>
          <p:nvPr>
            <p:custDataLst>
              <p:tags r:id="rId35"/>
            </p:custDataLst>
          </p:nvPr>
        </p:nvSpPr>
        <p:spPr bwMode="gray">
          <a:xfrm>
            <a:off x="3668713" y="3589338"/>
            <a:ext cx="5667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96B1388-2B9C-4169-A4CE-5B69928CD594}" type="datetime'''''''''2''''''''''''''7'''',''''''13''''''9'''''''''''''">
              <a:rPr lang="es-CL" altLang="en-US" sz="1400" smtClean="0">
                <a:solidFill>
                  <a:schemeClr val="bg1"/>
                </a:solidFill>
                <a:effectLst/>
                <a:latin typeface="Montserrat" panose="00000500000000000000" pitchFamily="2" charset="0"/>
                <a:sym typeface="Montserrat" panose="00000500000000000000" pitchFamily="2" charset="0"/>
              </a:rPr>
              <a:pPr marL="0" indent="0" algn="ctr">
                <a:spcBef>
                  <a:spcPct val="0"/>
                </a:spcBef>
                <a:spcAft>
                  <a:spcPct val="0"/>
                </a:spcAft>
                <a:buNone/>
              </a:pPr>
              <a:t>27,139</a:t>
            </a:fld>
            <a:endParaRPr lang="es-CL" sz="1400">
              <a:solidFill>
                <a:schemeClr val="bg1"/>
              </a:solidFill>
              <a:latin typeface="Montserrat" panose="00000500000000000000" pitchFamily="2" charset="0"/>
              <a:sym typeface="Montserrat" panose="00000500000000000000" pitchFamily="2" charset="0"/>
            </a:endParaRPr>
          </a:p>
        </p:txBody>
      </p:sp>
      <p:sp>
        <p:nvSpPr>
          <p:cNvPr id="18" name="Marcador de texto 2">
            <a:extLst>
              <a:ext uri="{FF2B5EF4-FFF2-40B4-BE49-F238E27FC236}">
                <a16:creationId xmlns:a16="http://schemas.microsoft.com/office/drawing/2014/main" id="{1C9608CD-B63B-97F5-5CD7-110FE888B541}"/>
              </a:ext>
            </a:extLst>
          </p:cNvPr>
          <p:cNvSpPr>
            <a:spLocks noGrp="1"/>
          </p:cNvSpPr>
          <p:nvPr>
            <p:custDataLst>
              <p:tags r:id="rId36"/>
            </p:custDataLst>
          </p:nvPr>
        </p:nvSpPr>
        <p:spPr bwMode="auto">
          <a:xfrm>
            <a:off x="766763" y="5988050"/>
            <a:ext cx="1223963"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0FCF7B-9F20-40FF-9FDC-776842704745}" type="datetime'C''ash'' P''''''o''''''si''''''''t''io''n De''''c''-2''''''4'">
              <a:rPr lang="es-CL" altLang="en-US" sz="1400" smtClean="0">
                <a:latin typeface="Montserrat" panose="00000500000000000000" pitchFamily="2" charset="0"/>
              </a:rPr>
              <a:pPr marL="0" lvl="0" indent="0" algn="ctr">
                <a:spcBef>
                  <a:spcPct val="0"/>
                </a:spcBef>
                <a:spcAft>
                  <a:spcPct val="0"/>
                </a:spcAft>
                <a:buNone/>
              </a:pPr>
              <a:t>Cash Position Dec-24</a:t>
            </a:fld>
            <a:endParaRPr lang="es-CL" sz="1400">
              <a:latin typeface="Montserrat" panose="00000500000000000000" pitchFamily="2" charset="0"/>
              <a:sym typeface="Montserrat" panose="00000500000000000000" pitchFamily="2" charset="0"/>
            </a:endParaRPr>
          </a:p>
        </p:txBody>
      </p:sp>
      <p:sp>
        <p:nvSpPr>
          <p:cNvPr id="34" name="Marcador de texto 2">
            <a:extLst>
              <a:ext uri="{FF2B5EF4-FFF2-40B4-BE49-F238E27FC236}">
                <a16:creationId xmlns:a16="http://schemas.microsoft.com/office/drawing/2014/main" id="{4437F47D-DF4B-6736-BD79-86428FDFCBDA}"/>
              </a:ext>
            </a:extLst>
          </p:cNvPr>
          <p:cNvSpPr>
            <a:spLocks noGrp="1"/>
          </p:cNvSpPr>
          <p:nvPr>
            <p:custDataLst>
              <p:tags r:id="rId37"/>
            </p:custDataLst>
          </p:nvPr>
        </p:nvSpPr>
        <p:spPr bwMode="auto">
          <a:xfrm>
            <a:off x="5426075" y="3044825"/>
            <a:ext cx="909638" cy="273050"/>
          </a:xfrm>
          <a:prstGeom prst="ellipse">
            <a:avLst/>
          </a:prstGeom>
          <a:noFill/>
          <a:ln w="9525" cmpd="sng" algn="ctr">
            <a:solidFill>
              <a:schemeClr val="tx1"/>
            </a:solidFill>
          </a:ln>
          <a:effectLst/>
          <a:extLst>
            <a:ext uri="{909E8E84-426E-40DD-AFC4-6F175D3DCCD1}">
              <a14:hiddenFill xmlns:a14="http://schemas.microsoft.com/office/drawing/2010/main">
                <a:solidFill>
                  <a:schemeClr val="bg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3E3B1C-03A6-40C7-A05E-80098E13A736}" type="datetime'''''''''''''+''3''7''''''''.''''''''0''''''%'''''''''">
              <a:rPr lang="es-CL" altLang="en-US" sz="1400" b="1" smtClean="0">
                <a:latin typeface="Montserrat" panose="00000500000000000000" pitchFamily="2" charset="0"/>
              </a:rPr>
              <a:pPr marL="0" lvl="0" indent="0" algn="ctr">
                <a:spcBef>
                  <a:spcPct val="0"/>
                </a:spcBef>
                <a:spcAft>
                  <a:spcPct val="0"/>
                </a:spcAft>
                <a:buNone/>
              </a:pPr>
              <a:t>+37.0%</a:t>
            </a:fld>
            <a:endParaRPr lang="es-CL" sz="1400" b="1">
              <a:latin typeface="Montserrat" panose="00000500000000000000" pitchFamily="2" charset="0"/>
              <a:sym typeface="Montserrat" panose="00000500000000000000" pitchFamily="2" charset="0"/>
            </a:endParaRPr>
          </a:p>
        </p:txBody>
      </p:sp>
      <p:sp>
        <p:nvSpPr>
          <p:cNvPr id="39" name="CuadroTexto 7">
            <a:extLst>
              <a:ext uri="{FF2B5EF4-FFF2-40B4-BE49-F238E27FC236}">
                <a16:creationId xmlns:a16="http://schemas.microsoft.com/office/drawing/2014/main" id="{C5C632ED-F0C9-5F91-6E50-42894B45EE59}"/>
              </a:ext>
            </a:extLst>
          </p:cNvPr>
          <p:cNvSpPr txBox="1"/>
          <p:nvPr/>
        </p:nvSpPr>
        <p:spPr>
          <a:xfrm>
            <a:off x="423511" y="1527183"/>
            <a:ext cx="11319310" cy="1025409"/>
          </a:xfrm>
          <a:prstGeom prst="rect">
            <a:avLst/>
          </a:prstGeom>
          <a:noFill/>
        </p:spPr>
        <p:txBody>
          <a:bodyPr wrap="square" rtlCol="0">
            <a:spAutoFit/>
          </a:bodyPr>
          <a:lstStyle>
            <a:defPPr>
              <a:defRPr lang="es-CL"/>
            </a:defPPr>
            <a:lvl1pPr algn="just" defTabSz="457200">
              <a:spcBef>
                <a:spcPts val="1200"/>
              </a:spcBef>
              <a:buClr>
                <a:schemeClr val="accent1"/>
              </a:buClr>
              <a:defRPr sz="1400">
                <a:solidFill>
                  <a:schemeClr val="tx2"/>
                </a:solidFill>
                <a:latin typeface="Montserrat" panose="00000500000000000000" pitchFamily="2" charset="0"/>
                <a:cs typeface="Poppins" pitchFamily="2" charset="77"/>
              </a:defRPr>
            </a:lvl1pPr>
          </a:lstStyle>
          <a:p>
            <a:pPr>
              <a:lnSpc>
                <a:spcPct val="150000"/>
              </a:lnSpc>
              <a:spcBef>
                <a:spcPts val="0"/>
              </a:spcBef>
            </a:pPr>
            <a:r>
              <a:rPr lang="en-US"/>
              <a:t>The cash position showed a positive growth during the period. Notably, the Company’s operating cash flows were sufficient to </a:t>
            </a:r>
            <a:r>
              <a:rPr lang="en-US" b="1"/>
              <a:t>finance business expansion investments (Capex) and meet financial obligations, while also increasing the cash position by 37.0%</a:t>
            </a:r>
            <a:r>
              <a:rPr lang="en-US"/>
              <a:t>.</a:t>
            </a:r>
            <a:endParaRPr lang="es-CL"/>
          </a:p>
        </p:txBody>
      </p:sp>
      <p:sp>
        <p:nvSpPr>
          <p:cNvPr id="40" name="Redondear rectángulo de esquina del mismo lado 7">
            <a:extLst>
              <a:ext uri="{FF2B5EF4-FFF2-40B4-BE49-F238E27FC236}">
                <a16:creationId xmlns:a16="http://schemas.microsoft.com/office/drawing/2014/main" id="{5CD10536-702D-8D36-2990-900D938B40F7}"/>
              </a:ext>
            </a:extLst>
          </p:cNvPr>
          <p:cNvSpPr/>
          <p:nvPr/>
        </p:nvSpPr>
        <p:spPr>
          <a:xfrm rot="5400000">
            <a:off x="3015100" y="-1438210"/>
            <a:ext cx="396000" cy="5470525"/>
          </a:xfrm>
          <a:prstGeom prst="round2SameRect">
            <a:avLst/>
          </a:prstGeom>
          <a:solidFill>
            <a:srgbClr val="0217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4" name="CuadroTexto 7">
            <a:extLst>
              <a:ext uri="{FF2B5EF4-FFF2-40B4-BE49-F238E27FC236}">
                <a16:creationId xmlns:a16="http://schemas.microsoft.com/office/drawing/2014/main" id="{1B7B0060-1FD7-E355-E75A-929F86A31B7E}"/>
              </a:ext>
            </a:extLst>
          </p:cNvPr>
          <p:cNvSpPr txBox="1"/>
          <p:nvPr/>
        </p:nvSpPr>
        <p:spPr>
          <a:xfrm>
            <a:off x="465650" y="1114944"/>
            <a:ext cx="4942658" cy="369332"/>
          </a:xfrm>
          <a:prstGeom prst="rect">
            <a:avLst/>
          </a:prstGeom>
          <a:noFill/>
        </p:spPr>
        <p:txBody>
          <a:bodyPr wrap="square" rtlCol="0">
            <a:spAutoFit/>
          </a:bodyPr>
          <a:lstStyle/>
          <a:p>
            <a:pPr marL="7200">
              <a:spcBef>
                <a:spcPts val="1200"/>
              </a:spcBef>
              <a:spcAft>
                <a:spcPts val="600"/>
              </a:spcAft>
              <a:buClr>
                <a:schemeClr val="accent2"/>
              </a:buClr>
              <a:buSzPct val="105000"/>
            </a:pPr>
            <a:r>
              <a:rPr lang="es-CL" b="1">
                <a:solidFill>
                  <a:schemeClr val="bg1"/>
                </a:solidFill>
                <a:latin typeface="Montserrat" panose="00000500000000000000" pitchFamily="2" charset="0"/>
                <a:cs typeface="Poppins" panose="00000500000000000000" pitchFamily="2" charset="0"/>
              </a:rPr>
              <a:t>Cash Position </a:t>
            </a:r>
            <a:r>
              <a:rPr lang="es-CL" b="1" err="1">
                <a:solidFill>
                  <a:schemeClr val="bg1"/>
                </a:solidFill>
                <a:latin typeface="Montserrat" panose="00000500000000000000" pitchFamily="2" charset="0"/>
                <a:cs typeface="Poppins" panose="00000500000000000000" pitchFamily="2" charset="0"/>
              </a:rPr>
              <a:t>Evolution</a:t>
            </a:r>
            <a:r>
              <a:rPr lang="es-CL" b="1">
                <a:solidFill>
                  <a:schemeClr val="bg1"/>
                </a:solidFill>
                <a:latin typeface="Montserrat" panose="00000500000000000000" pitchFamily="2" charset="0"/>
                <a:cs typeface="Poppins" panose="00000500000000000000" pitchFamily="2" charset="0"/>
              </a:rPr>
              <a:t> </a:t>
            </a:r>
            <a:r>
              <a:rPr lang="es-CL" b="1" baseline="30000">
                <a:solidFill>
                  <a:schemeClr val="bg1"/>
                </a:solidFill>
                <a:latin typeface="Montserrat" panose="00000500000000000000" pitchFamily="2" charset="0"/>
                <a:cs typeface="Poppins" panose="00000500000000000000" pitchFamily="2" charset="0"/>
              </a:rPr>
              <a:t>(1) (2)</a:t>
            </a:r>
            <a:endParaRPr lang="es-CL" baseline="30000">
              <a:solidFill>
                <a:schemeClr val="bg1"/>
              </a:solidFill>
              <a:latin typeface="Montserrat" panose="00000500000000000000" pitchFamily="2" charset="0"/>
              <a:cs typeface="Poppins" panose="00000500000000000000" pitchFamily="2" charset="0"/>
            </a:endParaRPr>
          </a:p>
        </p:txBody>
      </p:sp>
      <p:sp>
        <p:nvSpPr>
          <p:cNvPr id="48" name="CuadroTexto 47">
            <a:extLst>
              <a:ext uri="{FF2B5EF4-FFF2-40B4-BE49-F238E27FC236}">
                <a16:creationId xmlns:a16="http://schemas.microsoft.com/office/drawing/2014/main" id="{F7E27F8D-9E9F-34FC-FAED-6DEC59F7549F}"/>
              </a:ext>
            </a:extLst>
          </p:cNvPr>
          <p:cNvSpPr txBox="1"/>
          <p:nvPr/>
        </p:nvSpPr>
        <p:spPr>
          <a:xfrm>
            <a:off x="222052" y="6618530"/>
            <a:ext cx="10185535" cy="246221"/>
          </a:xfrm>
          <a:prstGeom prst="rect">
            <a:avLst/>
          </a:prstGeom>
          <a:noFill/>
        </p:spPr>
        <p:txBody>
          <a:bodyPr wrap="square" rtlCol="0">
            <a:spAutoFit/>
          </a:bodyPr>
          <a:lstStyle/>
          <a:p>
            <a:r>
              <a:rPr lang="es-CL" sz="1000" baseline="30000">
                <a:solidFill>
                  <a:srgbClr val="404040"/>
                </a:solidFill>
                <a:latin typeface="Montserrat" panose="00000500000000000000" pitchFamily="2" charset="0"/>
                <a:cs typeface="Poppins" panose="00000500000000000000" pitchFamily="2" charset="0"/>
              </a:rPr>
              <a:t>(1)</a:t>
            </a:r>
            <a:r>
              <a:rPr lang="es-CL" sz="1000">
                <a:solidFill>
                  <a:srgbClr val="404040"/>
                </a:solidFill>
                <a:latin typeface="Montserrat" panose="00000500000000000000" pitchFamily="2" charset="0"/>
                <a:cs typeface="Poppins" panose="00000500000000000000" pitchFamily="2" charset="0"/>
              </a:rPr>
              <a:t> </a:t>
            </a:r>
            <a:r>
              <a:rPr lang="en-US" sz="1000">
                <a:solidFill>
                  <a:srgbClr val="404040"/>
                </a:solidFill>
                <a:latin typeface="Montserrat" panose="00000500000000000000" pitchFamily="2" charset="0"/>
                <a:cs typeface="Poppins" panose="00000500000000000000" pitchFamily="2" charset="0"/>
              </a:rPr>
              <a:t>Figures in CLP Million. </a:t>
            </a:r>
            <a:r>
              <a:rPr lang="es-CL" sz="1000" baseline="30000">
                <a:solidFill>
                  <a:srgbClr val="404040"/>
                </a:solidFill>
                <a:latin typeface="Montserrat" panose="00000500000000000000" pitchFamily="2" charset="0"/>
                <a:cs typeface="Poppins" panose="00000500000000000000" pitchFamily="2" charset="0"/>
              </a:rPr>
              <a:t>(2)</a:t>
            </a:r>
            <a:r>
              <a:rPr lang="en-US" sz="1000">
                <a:solidFill>
                  <a:srgbClr val="404040"/>
                </a:solidFill>
                <a:latin typeface="Montserrat" panose="00000500000000000000" pitchFamily="2" charset="0"/>
                <a:cs typeface="Poppins" panose="00000500000000000000" pitchFamily="2" charset="0"/>
              </a:rPr>
              <a:t> Cash Position includes Cash and equivalents + current financial assets.</a:t>
            </a:r>
            <a:endParaRPr lang="es-CL" sz="1000">
              <a:solidFill>
                <a:srgbClr val="404040"/>
              </a:solidFill>
              <a:latin typeface="Montserrat" panose="00000500000000000000" pitchFamily="2" charset="0"/>
              <a:cs typeface="Poppins" panose="00000500000000000000" pitchFamily="2" charset="0"/>
            </a:endParaRPr>
          </a:p>
        </p:txBody>
      </p:sp>
      <p:sp>
        <p:nvSpPr>
          <p:cNvPr id="3" name="CuadroTexto 2">
            <a:extLst>
              <a:ext uri="{FF2B5EF4-FFF2-40B4-BE49-F238E27FC236}">
                <a16:creationId xmlns:a16="http://schemas.microsoft.com/office/drawing/2014/main" id="{3ECA1541-688F-B5E7-50D7-72919A285BA4}"/>
              </a:ext>
            </a:extLst>
          </p:cNvPr>
          <p:cNvSpPr txBox="1"/>
          <p:nvPr/>
        </p:nvSpPr>
        <p:spPr>
          <a:xfrm>
            <a:off x="491795" y="207049"/>
            <a:ext cx="7756855" cy="553998"/>
          </a:xfrm>
          <a:prstGeom prst="rect">
            <a:avLst/>
          </a:prstGeom>
          <a:noFill/>
        </p:spPr>
        <p:txBody>
          <a:bodyPr wrap="square" rtlCol="0">
            <a:spAutoFit/>
          </a:bodyPr>
          <a:lstStyle/>
          <a:p>
            <a:r>
              <a:rPr lang="es-CL" sz="3000" b="1">
                <a:solidFill>
                  <a:schemeClr val="accent3"/>
                </a:solidFill>
                <a:latin typeface="Poppins" pitchFamily="2" charset="77"/>
                <a:cs typeface="Poppins" pitchFamily="2" charset="77"/>
              </a:rPr>
              <a:t>2.10</a:t>
            </a:r>
            <a:r>
              <a:rPr lang="es-CL" sz="3000" b="1">
                <a:solidFill>
                  <a:schemeClr val="tx2"/>
                </a:solidFill>
                <a:latin typeface="Poppins" pitchFamily="2" charset="77"/>
                <a:cs typeface="Poppins" pitchFamily="2" charset="77"/>
              </a:rPr>
              <a:t> Cash Position</a:t>
            </a:r>
          </a:p>
        </p:txBody>
      </p:sp>
      <p:sp>
        <p:nvSpPr>
          <p:cNvPr id="2" name="Marcador de número de diapositiva 1">
            <a:extLst>
              <a:ext uri="{FF2B5EF4-FFF2-40B4-BE49-F238E27FC236}">
                <a16:creationId xmlns:a16="http://schemas.microsoft.com/office/drawing/2014/main" id="{D582C5A3-95A7-C0D3-A786-495E259F19F7}"/>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18</a:t>
            </a:fld>
            <a:endParaRPr lang="es-CL"/>
          </a:p>
        </p:txBody>
      </p:sp>
    </p:spTree>
    <p:extLst>
      <p:ext uri="{BB962C8B-B14F-4D97-AF65-F5344CB8AC3E}">
        <p14:creationId xmlns:p14="http://schemas.microsoft.com/office/powerpoint/2010/main" val="35887341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1A9CCC-656C-D42A-C25F-4506C10A158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770465B-4A59-A739-AB37-B828F2B04507}"/>
              </a:ext>
            </a:extLst>
          </p:cNvPr>
          <p:cNvGraphicFramePr>
            <a:graphicFrameLocks noChangeAspect="1"/>
          </p:cNvGraphicFramePr>
          <p:nvPr>
            <p:custDataLst>
              <p:tags r:id="rId1"/>
            </p:custDataLst>
            <p:extLst>
              <p:ext uri="{D42A27DB-BD31-4B8C-83A1-F6EECF244321}">
                <p14:modId xmlns:p14="http://schemas.microsoft.com/office/powerpoint/2010/main" val="172920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8" imgW="395" imgH="396" progId="TCLayout.ActiveDocument.1">
                  <p:embed/>
                </p:oleObj>
              </mc:Choice>
              <mc:Fallback>
                <p:oleObj name="Diapositiva de think-cell" r:id="rId8" imgW="395" imgH="396" progId="TCLayout.ActiveDocument.1">
                  <p:embed/>
                  <p:pic>
                    <p:nvPicPr>
                      <p:cNvPr id="7" name="think-cell data - do not delete" hidden="1">
                        <a:extLst>
                          <a:ext uri="{FF2B5EF4-FFF2-40B4-BE49-F238E27FC236}">
                            <a16:creationId xmlns:a16="http://schemas.microsoft.com/office/drawing/2014/main" id="{5770465B-4A59-A739-AB37-B828F2B0450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Rectángulo: esquinas redondeadas 9">
            <a:extLst>
              <a:ext uri="{FF2B5EF4-FFF2-40B4-BE49-F238E27FC236}">
                <a16:creationId xmlns:a16="http://schemas.microsoft.com/office/drawing/2014/main" id="{F8A607CD-39FC-95F3-2ED4-23945205F7BC}"/>
              </a:ext>
            </a:extLst>
          </p:cNvPr>
          <p:cNvSpPr/>
          <p:nvPr/>
        </p:nvSpPr>
        <p:spPr>
          <a:xfrm>
            <a:off x="6953345" y="1242897"/>
            <a:ext cx="5238655" cy="2186103"/>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schemeClr val="tx1"/>
              </a:solidFill>
              <a:latin typeface="Lufga" pitchFamily="2" charset="77"/>
            </a:endParaRPr>
          </a:p>
        </p:txBody>
      </p:sp>
      <p:graphicFrame>
        <p:nvGraphicFramePr>
          <p:cNvPr id="37" name="Chart 3">
            <a:extLst>
              <a:ext uri="{FF2B5EF4-FFF2-40B4-BE49-F238E27FC236}">
                <a16:creationId xmlns:a16="http://schemas.microsoft.com/office/drawing/2014/main" id="{0D2D49F0-2363-69CA-B426-A3F883A26536}"/>
              </a:ext>
            </a:extLst>
          </p:cNvPr>
          <p:cNvGraphicFramePr/>
          <p:nvPr>
            <p:custDataLst>
              <p:tags r:id="rId2"/>
            </p:custDataLst>
            <p:extLst>
              <p:ext uri="{D42A27DB-BD31-4B8C-83A1-F6EECF244321}">
                <p14:modId xmlns:p14="http://schemas.microsoft.com/office/powerpoint/2010/main" val="763622682"/>
              </p:ext>
            </p:extLst>
          </p:nvPr>
        </p:nvGraphicFramePr>
        <p:xfrm>
          <a:off x="6954838" y="3952875"/>
          <a:ext cx="4760912" cy="2236788"/>
        </p:xfrm>
        <a:graphic>
          <a:graphicData uri="http://schemas.openxmlformats.org/drawingml/2006/chart">
            <c:chart xmlns:c="http://schemas.openxmlformats.org/drawingml/2006/chart" xmlns:r="http://schemas.openxmlformats.org/officeDocument/2006/relationships" r:id="rId10"/>
          </a:graphicData>
        </a:graphic>
      </p:graphicFrame>
      <p:sp>
        <p:nvSpPr>
          <p:cNvPr id="9" name="Marcador de texto 2">
            <a:extLst>
              <a:ext uri="{FF2B5EF4-FFF2-40B4-BE49-F238E27FC236}">
                <a16:creationId xmlns:a16="http://schemas.microsoft.com/office/drawing/2014/main" id="{657B16E4-8394-50A6-E38B-1F59C86C0265}"/>
              </a:ext>
            </a:extLst>
          </p:cNvPr>
          <p:cNvSpPr>
            <a:spLocks noGrp="1"/>
          </p:cNvSpPr>
          <p:nvPr>
            <p:custDataLst>
              <p:tags r:id="rId3"/>
            </p:custDataLst>
          </p:nvPr>
        </p:nvSpPr>
        <p:spPr bwMode="auto">
          <a:xfrm>
            <a:off x="7581900" y="5942013"/>
            <a:ext cx="4413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1E6326F-4F2E-49F8-9B46-9C2AE8A7E08A}" type="datetime'2''''''''0''2''''''''9'''''''''''''''''''''''">
              <a:rPr lang="es-CL" altLang="en-US" sz="1400" smtClean="0">
                <a:latin typeface="Montserrat" panose="00000500000000000000" pitchFamily="2" charset="0"/>
              </a:rPr>
              <a:pPr marL="0" indent="0" algn="ctr">
                <a:spcBef>
                  <a:spcPct val="0"/>
                </a:spcBef>
                <a:spcAft>
                  <a:spcPct val="0"/>
                </a:spcAft>
                <a:buNone/>
              </a:pPr>
              <a:t>2029</a:t>
            </a:fld>
            <a:endParaRPr lang="es-CL" sz="1400">
              <a:latin typeface="Montserrat" panose="00000500000000000000" pitchFamily="2" charset="0"/>
              <a:sym typeface="Montserrat" panose="00000500000000000000" pitchFamily="2" charset="0"/>
            </a:endParaRPr>
          </a:p>
        </p:txBody>
      </p:sp>
      <p:sp>
        <p:nvSpPr>
          <p:cNvPr id="13" name="Marcador de texto 2">
            <a:extLst>
              <a:ext uri="{FF2B5EF4-FFF2-40B4-BE49-F238E27FC236}">
                <a16:creationId xmlns:a16="http://schemas.microsoft.com/office/drawing/2014/main" id="{6688CCDE-762B-1DE3-635E-316ED16AF00C}"/>
              </a:ext>
            </a:extLst>
          </p:cNvPr>
          <p:cNvSpPr>
            <a:spLocks noGrp="1"/>
          </p:cNvSpPr>
          <p:nvPr>
            <p:custDataLst>
              <p:tags r:id="rId4"/>
            </p:custDataLst>
          </p:nvPr>
        </p:nvSpPr>
        <p:spPr bwMode="auto">
          <a:xfrm>
            <a:off x="9101138" y="5942013"/>
            <a:ext cx="4667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FADB3B2-4456-439C-B411-E5B9B0B2880B}" type="datetime'''20''''''''''4''''4'''''''''''''''''''''''''''''">
              <a:rPr lang="es-CL" altLang="en-US" sz="1400" smtClean="0">
                <a:latin typeface="Montserrat" panose="00000500000000000000" pitchFamily="2" charset="0"/>
              </a:rPr>
              <a:pPr marL="0" indent="0" algn="ctr">
                <a:spcBef>
                  <a:spcPct val="0"/>
                </a:spcBef>
                <a:spcAft>
                  <a:spcPct val="0"/>
                </a:spcAft>
                <a:buNone/>
              </a:pPr>
              <a:t>2044</a:t>
            </a:fld>
            <a:endParaRPr lang="es-CL" sz="1400">
              <a:latin typeface="Montserrat" panose="00000500000000000000" pitchFamily="2" charset="0"/>
              <a:sym typeface="Montserrat" panose="00000500000000000000" pitchFamily="2" charset="0"/>
            </a:endParaRPr>
          </a:p>
        </p:txBody>
      </p:sp>
      <p:sp>
        <p:nvSpPr>
          <p:cNvPr id="15" name="Marcador de texto 2">
            <a:extLst>
              <a:ext uri="{FF2B5EF4-FFF2-40B4-BE49-F238E27FC236}">
                <a16:creationId xmlns:a16="http://schemas.microsoft.com/office/drawing/2014/main" id="{32C9B2B5-D105-0243-35EE-84630186EDDC}"/>
              </a:ext>
            </a:extLst>
          </p:cNvPr>
          <p:cNvSpPr>
            <a:spLocks noGrp="1"/>
          </p:cNvSpPr>
          <p:nvPr>
            <p:custDataLst>
              <p:tags r:id="rId5"/>
            </p:custDataLst>
          </p:nvPr>
        </p:nvSpPr>
        <p:spPr bwMode="auto">
          <a:xfrm>
            <a:off x="10642600" y="5942013"/>
            <a:ext cx="449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8C9C4D5-48A1-4CFC-ACDF-07F179CDC1B8}" type="datetime'''''''''''''''''''''''''''''''''2''''''''0''45'''''''''">
              <a:rPr lang="es-CL" altLang="en-US" sz="1400" smtClean="0">
                <a:latin typeface="Montserrat" panose="00000500000000000000" pitchFamily="2" charset="0"/>
              </a:rPr>
              <a:pPr marL="0" indent="0" algn="ctr">
                <a:spcBef>
                  <a:spcPct val="0"/>
                </a:spcBef>
                <a:spcAft>
                  <a:spcPct val="0"/>
                </a:spcAft>
                <a:buNone/>
              </a:pPr>
              <a:t>2045</a:t>
            </a:fld>
            <a:endParaRPr lang="es-CL" sz="1400">
              <a:latin typeface="Montserrat" panose="00000500000000000000" pitchFamily="2" charset="0"/>
              <a:sym typeface="Montserrat" panose="00000500000000000000" pitchFamily="2" charset="0"/>
            </a:endParaRPr>
          </a:p>
        </p:txBody>
      </p:sp>
      <p:sp>
        <p:nvSpPr>
          <p:cNvPr id="23" name="CuadroTexto 22">
            <a:extLst>
              <a:ext uri="{FF2B5EF4-FFF2-40B4-BE49-F238E27FC236}">
                <a16:creationId xmlns:a16="http://schemas.microsoft.com/office/drawing/2014/main" id="{62FB5F46-45E3-1EB6-359E-E5619126CB3B}"/>
              </a:ext>
            </a:extLst>
          </p:cNvPr>
          <p:cNvSpPr txBox="1"/>
          <p:nvPr/>
        </p:nvSpPr>
        <p:spPr>
          <a:xfrm>
            <a:off x="7857065" y="3746999"/>
            <a:ext cx="3619500" cy="368300"/>
          </a:xfrm>
          <a:prstGeom prst="rect">
            <a:avLst/>
          </a:prstGeom>
          <a:noFill/>
        </p:spPr>
        <p:txBody>
          <a:bodyPr wrap="square" rtlCol="0">
            <a:spAutoFit/>
          </a:bodyPr>
          <a:lstStyle/>
          <a:p>
            <a:r>
              <a:rPr lang="es-CL" b="1" err="1">
                <a:solidFill>
                  <a:schemeClr val="tx2"/>
                </a:solidFill>
                <a:latin typeface="Montserrat" panose="00000500000000000000" pitchFamily="2" charset="0"/>
                <a:cs typeface="Poppins" pitchFamily="2" charset="77"/>
              </a:rPr>
              <a:t>Amortization</a:t>
            </a:r>
            <a:r>
              <a:rPr lang="es-CL" b="1">
                <a:solidFill>
                  <a:schemeClr val="tx2"/>
                </a:solidFill>
                <a:latin typeface="Montserrat" panose="00000500000000000000" pitchFamily="2" charset="0"/>
                <a:cs typeface="Poppins" pitchFamily="2" charset="77"/>
              </a:rPr>
              <a:t> Schedule </a:t>
            </a:r>
            <a:r>
              <a:rPr lang="es-CL" b="1" baseline="30000">
                <a:solidFill>
                  <a:schemeClr val="tx2"/>
                </a:solidFill>
                <a:latin typeface="Montserrat" panose="00000500000000000000" pitchFamily="2" charset="0"/>
                <a:cs typeface="Poppins" pitchFamily="2" charset="77"/>
              </a:rPr>
              <a:t>(2)</a:t>
            </a:r>
            <a:r>
              <a:rPr lang="es-CL" b="1">
                <a:solidFill>
                  <a:schemeClr val="tx2"/>
                </a:solidFill>
                <a:latin typeface="Montserrat" panose="00000500000000000000" pitchFamily="2" charset="0"/>
                <a:cs typeface="Poppins" pitchFamily="2" charset="77"/>
              </a:rPr>
              <a:t> </a:t>
            </a:r>
            <a:endParaRPr lang="es-CL" sz="1400" baseline="30000">
              <a:solidFill>
                <a:schemeClr val="tx2"/>
              </a:solidFill>
              <a:latin typeface="Montserrat" panose="00000500000000000000" pitchFamily="2" charset="0"/>
              <a:cs typeface="Poppins" pitchFamily="2" charset="77"/>
            </a:endParaRPr>
          </a:p>
        </p:txBody>
      </p:sp>
      <p:sp>
        <p:nvSpPr>
          <p:cNvPr id="25" name="CuadroTexto 24">
            <a:extLst>
              <a:ext uri="{FF2B5EF4-FFF2-40B4-BE49-F238E27FC236}">
                <a16:creationId xmlns:a16="http://schemas.microsoft.com/office/drawing/2014/main" id="{C7BFE0A9-BA5D-4FAB-E1CF-3D2BB6AA656A}"/>
              </a:ext>
            </a:extLst>
          </p:cNvPr>
          <p:cNvSpPr txBox="1"/>
          <p:nvPr/>
        </p:nvSpPr>
        <p:spPr>
          <a:xfrm>
            <a:off x="7065606" y="1364685"/>
            <a:ext cx="4872038" cy="1692771"/>
          </a:xfrm>
          <a:prstGeom prst="rect">
            <a:avLst/>
          </a:prstGeom>
          <a:noFill/>
        </p:spPr>
        <p:txBody>
          <a:bodyPr wrap="square" rtlCol="0">
            <a:spAutoFit/>
          </a:bodyPr>
          <a:lstStyle/>
          <a:p>
            <a:pPr marL="285750" indent="-285750" algn="just">
              <a:spcBef>
                <a:spcPts val="1200"/>
              </a:spcBef>
              <a:buFont typeface="Arial" panose="020B0604020202020204" pitchFamily="34" charset="0"/>
              <a:buChar char="•"/>
            </a:pPr>
            <a:r>
              <a:rPr lang="en-US" sz="1400">
                <a:latin typeface="Montserrat" panose="00000500000000000000" pitchFamily="2" charset="0"/>
                <a:cs typeface="Poppins" pitchFamily="2" charset="77"/>
              </a:rPr>
              <a:t>As of March 31, 2025, </a:t>
            </a:r>
            <a:r>
              <a:rPr lang="en-US" sz="1400" b="1">
                <a:solidFill>
                  <a:srgbClr val="8200FF"/>
                </a:solidFill>
                <a:latin typeface="Montserrat" panose="00000500000000000000" pitchFamily="2" charset="0"/>
                <a:cs typeface="Poppins" pitchFamily="2" charset="77"/>
              </a:rPr>
              <a:t>100% of the Company’s interest rate–exposed debt</a:t>
            </a:r>
            <a:r>
              <a:rPr lang="en-US" sz="1400">
                <a:latin typeface="Montserrat" panose="00000500000000000000" pitchFamily="2" charset="0"/>
                <a:cs typeface="Poppins" pitchFamily="2" charset="77"/>
              </a:rPr>
              <a:t> was contracted at a fixed rate. This debt consist to UF-denominated public bonds.</a:t>
            </a:r>
          </a:p>
          <a:p>
            <a:pPr marL="285750" indent="-285750" algn="just">
              <a:spcBef>
                <a:spcPts val="1200"/>
              </a:spcBef>
              <a:buFont typeface="Arial" panose="020B0604020202020204" pitchFamily="34" charset="0"/>
              <a:buChar char="•"/>
            </a:pPr>
            <a:r>
              <a:rPr lang="en-US" sz="1400">
                <a:latin typeface="Montserrat" panose="00000500000000000000" pitchFamily="2" charset="0"/>
                <a:cs typeface="Poppins" pitchFamily="2" charset="77"/>
              </a:rPr>
              <a:t>The average debt duration is </a:t>
            </a:r>
            <a:r>
              <a:rPr lang="en-US" sz="1400" b="1">
                <a:solidFill>
                  <a:srgbClr val="8200FF"/>
                </a:solidFill>
                <a:latin typeface="Montserrat" panose="00000500000000000000" pitchFamily="2" charset="0"/>
                <a:cs typeface="Poppins" pitchFamily="2" charset="77"/>
              </a:rPr>
              <a:t>9.8 years</a:t>
            </a:r>
            <a:r>
              <a:rPr lang="en-US" sz="1400">
                <a:latin typeface="Montserrat" panose="00000500000000000000" pitchFamily="2" charset="0"/>
                <a:cs typeface="Poppins" pitchFamily="2" charset="77"/>
              </a:rPr>
              <a:t>.</a:t>
            </a:r>
          </a:p>
          <a:p>
            <a:pPr marL="285750" indent="-285750" algn="just">
              <a:spcBef>
                <a:spcPts val="1200"/>
              </a:spcBef>
              <a:buFont typeface="Arial" panose="020B0604020202020204" pitchFamily="34" charset="0"/>
              <a:buChar char="•"/>
            </a:pPr>
            <a:r>
              <a:rPr lang="en-US" sz="1400">
                <a:latin typeface="Montserrat" panose="00000500000000000000" pitchFamily="2" charset="0"/>
                <a:cs typeface="Poppins" pitchFamily="2" charset="77"/>
              </a:rPr>
              <a:t>The average cost of debt is </a:t>
            </a:r>
            <a:r>
              <a:rPr lang="en-US" sz="1400" b="1">
                <a:solidFill>
                  <a:srgbClr val="8200FF"/>
                </a:solidFill>
                <a:latin typeface="Montserrat" panose="00000500000000000000" pitchFamily="2" charset="0"/>
                <a:cs typeface="Poppins" pitchFamily="2" charset="77"/>
              </a:rPr>
              <a:t>1.54%</a:t>
            </a:r>
            <a:r>
              <a:rPr lang="en-US" sz="1400" baseline="30000">
                <a:latin typeface="Montserrat" panose="00000500000000000000" pitchFamily="2" charset="0"/>
                <a:cs typeface="Poppins" pitchFamily="2" charset="77"/>
              </a:rPr>
              <a:t>(1)</a:t>
            </a:r>
            <a:r>
              <a:rPr lang="en-US" sz="1400">
                <a:latin typeface="Montserrat" panose="00000500000000000000" pitchFamily="2" charset="0"/>
                <a:cs typeface="Poppins" pitchFamily="2" charset="77"/>
              </a:rPr>
              <a:t>.</a:t>
            </a:r>
            <a:endParaRPr lang="es-CL" sz="1400" b="1" baseline="30000">
              <a:solidFill>
                <a:srgbClr val="8200FF"/>
              </a:solidFill>
              <a:latin typeface="Montserrat" panose="00000500000000000000" pitchFamily="2" charset="0"/>
              <a:cs typeface="Poppins" pitchFamily="2" charset="77"/>
            </a:endParaRPr>
          </a:p>
        </p:txBody>
      </p:sp>
      <p:sp>
        <p:nvSpPr>
          <p:cNvPr id="39" name="Forma libre 13">
            <a:extLst>
              <a:ext uri="{FF2B5EF4-FFF2-40B4-BE49-F238E27FC236}">
                <a16:creationId xmlns:a16="http://schemas.microsoft.com/office/drawing/2014/main" id="{5CA6B891-1149-5E6C-CA29-755E43FD701B}"/>
              </a:ext>
            </a:extLst>
          </p:cNvPr>
          <p:cNvSpPr/>
          <p:nvPr/>
        </p:nvSpPr>
        <p:spPr>
          <a:xfrm flipH="1">
            <a:off x="0" y="5095875"/>
            <a:ext cx="2574404" cy="1766821"/>
          </a:xfrm>
          <a:custGeom>
            <a:avLst/>
            <a:gdLst>
              <a:gd name="connsiteX0" fmla="*/ 6531429 w 6531429"/>
              <a:gd name="connsiteY0" fmla="*/ 1250302 h 3638939"/>
              <a:gd name="connsiteX1" fmla="*/ 5812972 w 6531429"/>
              <a:gd name="connsiteY1" fmla="*/ 587829 h 3638939"/>
              <a:gd name="connsiteX2" fmla="*/ 4879910 w 6531429"/>
              <a:gd name="connsiteY2" fmla="*/ 1567543 h 3638939"/>
              <a:gd name="connsiteX3" fmla="*/ 1894115 w 6531429"/>
              <a:gd name="connsiteY3" fmla="*/ 0 h 3638939"/>
              <a:gd name="connsiteX4" fmla="*/ 0 w 6531429"/>
              <a:gd name="connsiteY4" fmla="*/ 3638939 h 3638939"/>
              <a:gd name="connsiteX5" fmla="*/ 6522098 w 6531429"/>
              <a:gd name="connsiteY5" fmla="*/ 3638939 h 3638939"/>
              <a:gd name="connsiteX6" fmla="*/ 6531429 w 6531429"/>
              <a:gd name="connsiteY6" fmla="*/ 1250302 h 363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1429" h="3638939">
                <a:moveTo>
                  <a:pt x="6531429" y="1250302"/>
                </a:moveTo>
                <a:lnTo>
                  <a:pt x="5812972" y="587829"/>
                </a:lnTo>
                <a:lnTo>
                  <a:pt x="4879910" y="1567543"/>
                </a:lnTo>
                <a:lnTo>
                  <a:pt x="1894115" y="0"/>
                </a:lnTo>
                <a:lnTo>
                  <a:pt x="0" y="3638939"/>
                </a:lnTo>
                <a:lnTo>
                  <a:pt x="6522098" y="3638939"/>
                </a:lnTo>
                <a:cubicBezTo>
                  <a:pt x="6525208" y="2842727"/>
                  <a:pt x="6528319" y="2046514"/>
                  <a:pt x="6531429" y="1250302"/>
                </a:cubicBezTo>
                <a:close/>
              </a:path>
            </a:pathLst>
          </a:custGeom>
          <a:solidFill>
            <a:srgbClr val="DA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8" name="CuadroTexto 37">
            <a:extLst>
              <a:ext uri="{FF2B5EF4-FFF2-40B4-BE49-F238E27FC236}">
                <a16:creationId xmlns:a16="http://schemas.microsoft.com/office/drawing/2014/main" id="{75839018-1F4E-9B38-1F4E-7928DA094DC4}"/>
              </a:ext>
            </a:extLst>
          </p:cNvPr>
          <p:cNvSpPr txBox="1"/>
          <p:nvPr/>
        </p:nvSpPr>
        <p:spPr>
          <a:xfrm>
            <a:off x="214812" y="6284903"/>
            <a:ext cx="7081337" cy="553998"/>
          </a:xfrm>
          <a:prstGeom prst="rect">
            <a:avLst/>
          </a:prstGeom>
          <a:noFill/>
        </p:spPr>
        <p:txBody>
          <a:bodyPr wrap="square" rtlCol="0">
            <a:spAutoFit/>
          </a:bodyPr>
          <a:lstStyle/>
          <a:p>
            <a:pPr algn="just"/>
            <a:r>
              <a:rPr lang="es-CL" sz="1000" baseline="30000">
                <a:solidFill>
                  <a:srgbClr val="404040"/>
                </a:solidFill>
                <a:latin typeface="Montserrat" panose="00000500000000000000" pitchFamily="2" charset="0"/>
                <a:ea typeface="Times New Roman" panose="02020603050405020304" pitchFamily="18" charset="0"/>
                <a:cs typeface="Poppins" panose="00000500000000000000" pitchFamily="2" charset="0"/>
              </a:rPr>
              <a:t>(1) </a:t>
            </a:r>
            <a:r>
              <a:rPr lang="en-US" sz="1000">
                <a:solidFill>
                  <a:srgbClr val="404040"/>
                </a:solidFill>
                <a:latin typeface="Montserrat" panose="00000500000000000000" pitchFamily="2" charset="0"/>
                <a:ea typeface="Times New Roman" panose="02020603050405020304" pitchFamily="18" charset="0"/>
                <a:cs typeface="Poppins" panose="00000500000000000000" pitchFamily="2" charset="0"/>
              </a:rPr>
              <a:t> Annual cost of debt is estimated as the weighted average of the coupon rate for each issue with the</a:t>
            </a:r>
          </a:p>
          <a:p>
            <a:pPr algn="just"/>
            <a:r>
              <a:rPr lang="en-US" sz="1000">
                <a:solidFill>
                  <a:srgbClr val="404040"/>
                </a:solidFill>
                <a:latin typeface="Montserrat" panose="00000500000000000000" pitchFamily="2" charset="0"/>
                <a:ea typeface="Times New Roman" panose="02020603050405020304" pitchFamily="18" charset="0"/>
                <a:cs typeface="Poppins" panose="00000500000000000000" pitchFamily="2" charset="0"/>
              </a:rPr>
              <a:t>respective amounts issued. </a:t>
            </a:r>
            <a:r>
              <a:rPr lang="es-ES" sz="1000" baseline="30000">
                <a:solidFill>
                  <a:srgbClr val="404040"/>
                </a:solidFill>
                <a:latin typeface="Montserrat" panose="00000500000000000000" pitchFamily="2" charset="0"/>
                <a:ea typeface="Times New Roman" panose="02020603050405020304" pitchFamily="18" charset="0"/>
                <a:cs typeface="Poppins" panose="00000500000000000000" pitchFamily="2" charset="0"/>
              </a:rPr>
              <a:t>(</a:t>
            </a:r>
            <a:r>
              <a:rPr lang="es-CL" sz="1000" baseline="30000">
                <a:solidFill>
                  <a:srgbClr val="404040"/>
                </a:solidFill>
                <a:latin typeface="Montserrat" panose="00000500000000000000" pitchFamily="2" charset="0"/>
                <a:ea typeface="Times New Roman" panose="02020603050405020304" pitchFamily="18" charset="0"/>
                <a:cs typeface="Poppins" panose="00000500000000000000" pitchFamily="2" charset="0"/>
              </a:rPr>
              <a:t>2)</a:t>
            </a:r>
            <a:r>
              <a:rPr lang="en-US" sz="1000">
                <a:solidFill>
                  <a:srgbClr val="404040"/>
                </a:solidFill>
                <a:latin typeface="Montserrat" panose="00000500000000000000" pitchFamily="2" charset="0"/>
                <a:ea typeface="Times New Roman" panose="02020603050405020304" pitchFamily="18" charset="0"/>
                <a:cs typeface="Poppins" panose="00000500000000000000" pitchFamily="2" charset="0"/>
              </a:rPr>
              <a:t> Considers capital amortizations. Values are in millions of UF. </a:t>
            </a:r>
            <a:r>
              <a:rPr lang="es-ES" sz="1000" baseline="30000">
                <a:solidFill>
                  <a:srgbClr val="404040"/>
                </a:solidFill>
                <a:latin typeface="Montserrat" panose="00000500000000000000" pitchFamily="2" charset="0"/>
                <a:ea typeface="Times New Roman" panose="02020603050405020304" pitchFamily="18" charset="0"/>
                <a:cs typeface="Poppins" panose="00000500000000000000" pitchFamily="2" charset="0"/>
              </a:rPr>
              <a:t>(</a:t>
            </a:r>
            <a:r>
              <a:rPr lang="es-CL" sz="1000" baseline="30000">
                <a:solidFill>
                  <a:srgbClr val="404040"/>
                </a:solidFill>
                <a:latin typeface="Montserrat" panose="00000500000000000000" pitchFamily="2" charset="0"/>
                <a:ea typeface="Times New Roman" panose="02020603050405020304" pitchFamily="18" charset="0"/>
                <a:cs typeface="Poppins" panose="00000500000000000000" pitchFamily="2" charset="0"/>
              </a:rPr>
              <a:t>3)</a:t>
            </a:r>
            <a:r>
              <a:rPr lang="en-US" sz="1000">
                <a:solidFill>
                  <a:srgbClr val="404040"/>
                </a:solidFill>
                <a:latin typeface="Montserrat" panose="00000500000000000000" pitchFamily="2" charset="0"/>
                <a:ea typeface="Times New Roman" panose="02020603050405020304" pitchFamily="18" charset="0"/>
                <a:cs typeface="Poppins" panose="00000500000000000000" pitchFamily="2" charset="0"/>
              </a:rPr>
              <a:t> Net Financial</a:t>
            </a:r>
          </a:p>
          <a:p>
            <a:pPr algn="just"/>
            <a:r>
              <a:rPr lang="en-US" sz="1000">
                <a:solidFill>
                  <a:srgbClr val="404040"/>
                </a:solidFill>
                <a:latin typeface="Montserrat" panose="00000500000000000000" pitchFamily="2" charset="0"/>
                <a:ea typeface="Times New Roman" panose="02020603050405020304" pitchFamily="18" charset="0"/>
                <a:cs typeface="Poppins" panose="00000500000000000000" pitchFamily="2" charset="0"/>
              </a:rPr>
              <a:t>Debt. </a:t>
            </a:r>
            <a:r>
              <a:rPr lang="es-ES" sz="1000" baseline="30000">
                <a:solidFill>
                  <a:srgbClr val="404040"/>
                </a:solidFill>
                <a:latin typeface="Montserrat" panose="00000500000000000000" pitchFamily="2" charset="0"/>
                <a:ea typeface="Times New Roman" panose="02020603050405020304" pitchFamily="18" charset="0"/>
                <a:cs typeface="Poppins" panose="00000500000000000000" pitchFamily="2" charset="0"/>
              </a:rPr>
              <a:t>(</a:t>
            </a:r>
            <a:r>
              <a:rPr lang="es-CL" sz="1000" baseline="30000">
                <a:solidFill>
                  <a:srgbClr val="404040"/>
                </a:solidFill>
                <a:latin typeface="Montserrat" panose="00000500000000000000" pitchFamily="2" charset="0"/>
                <a:ea typeface="Times New Roman" panose="02020603050405020304" pitchFamily="18" charset="0"/>
                <a:cs typeface="Poppins" panose="00000500000000000000" pitchFamily="2" charset="0"/>
              </a:rPr>
              <a:t>4)</a:t>
            </a:r>
            <a:r>
              <a:rPr lang="en-US" sz="1000">
                <a:solidFill>
                  <a:srgbClr val="404040"/>
                </a:solidFill>
                <a:latin typeface="Montserrat" panose="00000500000000000000" pitchFamily="2" charset="0"/>
                <a:ea typeface="Times New Roman" panose="02020603050405020304" pitchFamily="18" charset="0"/>
                <a:cs typeface="Poppins" panose="00000500000000000000" pitchFamily="2" charset="0"/>
              </a:rPr>
              <a:t> Current Assets / Current Liabilities. </a:t>
            </a:r>
            <a:r>
              <a:rPr lang="es-ES" sz="1000" baseline="30000">
                <a:solidFill>
                  <a:srgbClr val="404040"/>
                </a:solidFill>
                <a:latin typeface="Montserrat" panose="00000500000000000000" pitchFamily="2" charset="0"/>
                <a:ea typeface="Times New Roman" panose="02020603050405020304" pitchFamily="18" charset="0"/>
                <a:cs typeface="Poppins" panose="00000500000000000000" pitchFamily="2" charset="0"/>
              </a:rPr>
              <a:t>(</a:t>
            </a:r>
            <a:r>
              <a:rPr lang="es-CL" sz="1000" baseline="30000">
                <a:solidFill>
                  <a:srgbClr val="404040"/>
                </a:solidFill>
                <a:latin typeface="Montserrat" panose="00000500000000000000" pitchFamily="2" charset="0"/>
                <a:ea typeface="Times New Roman" panose="02020603050405020304" pitchFamily="18" charset="0"/>
                <a:cs typeface="Poppins" panose="00000500000000000000" pitchFamily="2" charset="0"/>
              </a:rPr>
              <a:t>5)</a:t>
            </a:r>
            <a:r>
              <a:rPr lang="en-US" sz="1000">
                <a:solidFill>
                  <a:srgbClr val="404040"/>
                </a:solidFill>
                <a:latin typeface="Montserrat" panose="00000500000000000000" pitchFamily="2" charset="0"/>
                <a:ea typeface="Times New Roman" panose="02020603050405020304" pitchFamily="18" charset="0"/>
                <a:cs typeface="Poppins" panose="00000500000000000000" pitchFamily="2" charset="0"/>
              </a:rPr>
              <a:t> Total Liabilities / Total Assets</a:t>
            </a:r>
            <a:endParaRPr lang="es-ES" sz="1000">
              <a:solidFill>
                <a:srgbClr val="404040"/>
              </a:solidFill>
              <a:latin typeface="Montserrat" panose="00000500000000000000" pitchFamily="2" charset="0"/>
              <a:ea typeface="Times New Roman" panose="02020603050405020304" pitchFamily="18" charset="0"/>
              <a:cs typeface="Poppins" panose="00000500000000000000" pitchFamily="2" charset="0"/>
            </a:endParaRPr>
          </a:p>
        </p:txBody>
      </p:sp>
      <p:sp>
        <p:nvSpPr>
          <p:cNvPr id="3" name="CuadroTexto 2">
            <a:extLst>
              <a:ext uri="{FF2B5EF4-FFF2-40B4-BE49-F238E27FC236}">
                <a16:creationId xmlns:a16="http://schemas.microsoft.com/office/drawing/2014/main" id="{1F5CE20F-11B9-2398-3D28-14CD11320932}"/>
              </a:ext>
            </a:extLst>
          </p:cNvPr>
          <p:cNvSpPr txBox="1"/>
          <p:nvPr/>
        </p:nvSpPr>
        <p:spPr>
          <a:xfrm>
            <a:off x="491796" y="207049"/>
            <a:ext cx="6466866" cy="553998"/>
          </a:xfrm>
          <a:prstGeom prst="rect">
            <a:avLst/>
          </a:prstGeom>
          <a:noFill/>
        </p:spPr>
        <p:txBody>
          <a:bodyPr wrap="square" rtlCol="0">
            <a:spAutoFit/>
          </a:bodyPr>
          <a:lstStyle/>
          <a:p>
            <a:r>
              <a:rPr lang="es-CL" sz="3000" b="1">
                <a:solidFill>
                  <a:schemeClr val="accent3"/>
                </a:solidFill>
                <a:latin typeface="Poppins" pitchFamily="2" charset="77"/>
                <a:cs typeface="Poppins" pitchFamily="2" charset="77"/>
              </a:rPr>
              <a:t>2.11</a:t>
            </a:r>
            <a:r>
              <a:rPr lang="es-CL" sz="3000" b="1">
                <a:solidFill>
                  <a:schemeClr val="tx2"/>
                </a:solidFill>
                <a:latin typeface="Poppins" pitchFamily="2" charset="77"/>
                <a:cs typeface="Poppins" pitchFamily="2" charset="77"/>
              </a:rPr>
              <a:t> Capital </a:t>
            </a:r>
            <a:r>
              <a:rPr lang="es-CL" sz="3000" b="1" err="1">
                <a:solidFill>
                  <a:schemeClr val="tx2"/>
                </a:solidFill>
                <a:latin typeface="Poppins" pitchFamily="2" charset="77"/>
                <a:cs typeface="Poppins" pitchFamily="2" charset="77"/>
              </a:rPr>
              <a:t>Structure</a:t>
            </a:r>
            <a:endParaRPr lang="es-CL" sz="3000" b="1">
              <a:solidFill>
                <a:schemeClr val="tx2"/>
              </a:solidFill>
              <a:latin typeface="Poppins" pitchFamily="2" charset="77"/>
              <a:cs typeface="Poppins" pitchFamily="2" charset="77"/>
            </a:endParaRPr>
          </a:p>
        </p:txBody>
      </p:sp>
      <p:graphicFrame>
        <p:nvGraphicFramePr>
          <p:cNvPr id="4" name="Tabla 3">
            <a:extLst>
              <a:ext uri="{FF2B5EF4-FFF2-40B4-BE49-F238E27FC236}">
                <a16:creationId xmlns:a16="http://schemas.microsoft.com/office/drawing/2014/main" id="{AEC5350F-5B31-EF62-689B-6681B5188C65}"/>
              </a:ext>
            </a:extLst>
          </p:cNvPr>
          <p:cNvGraphicFramePr>
            <a:graphicFrameLocks noGrp="1"/>
          </p:cNvGraphicFramePr>
          <p:nvPr>
            <p:extLst>
              <p:ext uri="{D42A27DB-BD31-4B8C-83A1-F6EECF244321}">
                <p14:modId xmlns:p14="http://schemas.microsoft.com/office/powerpoint/2010/main" val="528755426"/>
              </p:ext>
            </p:extLst>
          </p:nvPr>
        </p:nvGraphicFramePr>
        <p:xfrm>
          <a:off x="214812" y="1382437"/>
          <a:ext cx="6588000" cy="1280160"/>
        </p:xfrm>
        <a:graphic>
          <a:graphicData uri="http://schemas.openxmlformats.org/drawingml/2006/table">
            <a:tbl>
              <a:tblPr/>
              <a:tblGrid>
                <a:gridCol w="3060000">
                  <a:extLst>
                    <a:ext uri="{9D8B030D-6E8A-4147-A177-3AD203B41FA5}">
                      <a16:colId xmlns:a16="http://schemas.microsoft.com/office/drawing/2014/main" val="3092702369"/>
                    </a:ext>
                  </a:extLst>
                </a:gridCol>
                <a:gridCol w="720000">
                  <a:extLst>
                    <a:ext uri="{9D8B030D-6E8A-4147-A177-3AD203B41FA5}">
                      <a16:colId xmlns:a16="http://schemas.microsoft.com/office/drawing/2014/main" val="3655875735"/>
                    </a:ext>
                  </a:extLst>
                </a:gridCol>
                <a:gridCol w="936000">
                  <a:extLst>
                    <a:ext uri="{9D8B030D-6E8A-4147-A177-3AD203B41FA5}">
                      <a16:colId xmlns:a16="http://schemas.microsoft.com/office/drawing/2014/main" val="1585231782"/>
                    </a:ext>
                  </a:extLst>
                </a:gridCol>
                <a:gridCol w="936000">
                  <a:extLst>
                    <a:ext uri="{9D8B030D-6E8A-4147-A177-3AD203B41FA5}">
                      <a16:colId xmlns:a16="http://schemas.microsoft.com/office/drawing/2014/main" val="3723140449"/>
                    </a:ext>
                  </a:extLst>
                </a:gridCol>
                <a:gridCol w="936000">
                  <a:extLst>
                    <a:ext uri="{9D8B030D-6E8A-4147-A177-3AD203B41FA5}">
                      <a16:colId xmlns:a16="http://schemas.microsoft.com/office/drawing/2014/main" val="2242276237"/>
                    </a:ext>
                  </a:extLst>
                </a:gridCol>
              </a:tblGrid>
              <a:tr h="184150">
                <a:tc>
                  <a:txBody>
                    <a:bodyPr/>
                    <a:lstStyle/>
                    <a:p>
                      <a:pPr algn="l" fontAlgn="ctr"/>
                      <a:r>
                        <a:rPr lang="es-CL" sz="1400" b="1" i="0" u="none" strike="noStrike" err="1">
                          <a:solidFill>
                            <a:srgbClr val="FFFFFF"/>
                          </a:solidFill>
                          <a:effectLst/>
                          <a:latin typeface="Aptos" panose="020B0004020202020204" pitchFamily="34" charset="0"/>
                        </a:rPr>
                        <a:t>Financial</a:t>
                      </a:r>
                      <a:r>
                        <a:rPr lang="es-CL" sz="1400" b="1" i="0" u="none" strike="noStrike">
                          <a:solidFill>
                            <a:srgbClr val="FFFFFF"/>
                          </a:solidFill>
                          <a:effectLst/>
                          <a:latin typeface="Aptos" panose="020B0004020202020204" pitchFamily="34" charset="0"/>
                        </a:rPr>
                        <a:t> </a:t>
                      </a:r>
                      <a:r>
                        <a:rPr lang="es-CL" sz="1400" b="1" i="0" u="none" strike="noStrike" err="1">
                          <a:solidFill>
                            <a:srgbClr val="FFFFFF"/>
                          </a:solidFill>
                          <a:effectLst/>
                          <a:latin typeface="Aptos" panose="020B0004020202020204" pitchFamily="34" charset="0"/>
                        </a:rPr>
                        <a:t>Indicator</a:t>
                      </a:r>
                      <a:endParaRPr lang="es-CL" sz="1400" b="1" i="0" u="none" strike="noStrike">
                        <a:solidFill>
                          <a:srgbClr val="FFFFFF"/>
                        </a:solidFill>
                        <a:effectLst/>
                        <a:latin typeface="Aptos" panose="020B0004020202020204" pitchFamily="34" charset="0"/>
                      </a:endParaRPr>
                    </a:p>
                  </a:txBody>
                  <a:tcPr marL="0" marR="0" marT="0" marB="0" anchor="ctr">
                    <a:lnL w="6350" cap="flat" cmpd="sng" algn="ctr">
                      <a:solidFill>
                        <a:srgbClr val="272A59"/>
                      </a:solidFill>
                      <a:prstDash val="solid"/>
                      <a:round/>
                      <a:headEnd type="none" w="med" len="med"/>
                      <a:tailEnd type="none" w="med" len="med"/>
                    </a:lnL>
                    <a:lnR>
                      <a:noFill/>
                    </a:lnR>
                    <a:lnT w="6350" cap="flat" cmpd="sng" algn="ctr">
                      <a:solidFill>
                        <a:srgbClr val="272A59"/>
                      </a:solidFill>
                      <a:prstDash val="solid"/>
                      <a:round/>
                      <a:headEnd type="none" w="med" len="med"/>
                      <a:tailEnd type="none" w="med" len="med"/>
                    </a:lnT>
                    <a:lnB>
                      <a:noFill/>
                    </a:lnB>
                    <a:solidFill>
                      <a:srgbClr val="38279B"/>
                    </a:solidFill>
                  </a:tcPr>
                </a:tc>
                <a:tc>
                  <a:txBody>
                    <a:bodyPr/>
                    <a:lstStyle/>
                    <a:p>
                      <a:pPr algn="r" fontAlgn="ctr"/>
                      <a:r>
                        <a:rPr lang="es-CL" sz="1400" b="1" i="0" u="none" strike="noStrike" err="1">
                          <a:solidFill>
                            <a:srgbClr val="FFFFFF"/>
                          </a:solidFill>
                          <a:effectLst/>
                          <a:latin typeface="Aptos" panose="020B0004020202020204" pitchFamily="34" charset="0"/>
                        </a:rPr>
                        <a:t>Unit</a:t>
                      </a:r>
                      <a:endParaRPr lang="es-CL" sz="1400" b="1" i="0" u="none" strike="noStrike">
                        <a:solidFill>
                          <a:srgbClr val="FFFFFF"/>
                        </a:solidFill>
                        <a:effectLst/>
                        <a:latin typeface="Aptos" panose="020B0004020202020204" pitchFamily="34" charset="0"/>
                      </a:endParaRPr>
                    </a:p>
                  </a:txBody>
                  <a:tcPr marL="0" marR="0" marT="0" marB="0" anchor="ctr">
                    <a:lnL>
                      <a:noFill/>
                    </a:lnL>
                    <a:lnR>
                      <a:noFill/>
                    </a:lnR>
                    <a:lnT w="6350" cap="flat" cmpd="sng" algn="ctr">
                      <a:solidFill>
                        <a:srgbClr val="272A59"/>
                      </a:solidFill>
                      <a:prstDash val="solid"/>
                      <a:round/>
                      <a:headEnd type="none" w="med" len="med"/>
                      <a:tailEnd type="none" w="med" len="med"/>
                    </a:lnT>
                    <a:lnB>
                      <a:noFill/>
                    </a:lnB>
                    <a:solidFill>
                      <a:srgbClr val="38279B"/>
                    </a:solidFill>
                  </a:tcPr>
                </a:tc>
                <a:tc>
                  <a:txBody>
                    <a:bodyPr/>
                    <a:lstStyle/>
                    <a:p>
                      <a:pPr algn="r" fontAlgn="ctr"/>
                      <a:r>
                        <a:rPr lang="es-CL" sz="1400" b="1" i="0" u="none" strike="noStrike">
                          <a:solidFill>
                            <a:srgbClr val="FFFFFF"/>
                          </a:solidFill>
                          <a:effectLst/>
                          <a:latin typeface="Aptos" panose="020B0004020202020204" pitchFamily="34" charset="0"/>
                        </a:rPr>
                        <a:t>MAR 25</a:t>
                      </a:r>
                    </a:p>
                  </a:txBody>
                  <a:tcPr marL="0" marR="0" marT="0" marB="0" anchor="ctr">
                    <a:lnL>
                      <a:noFill/>
                    </a:lnL>
                    <a:lnR>
                      <a:noFill/>
                    </a:lnR>
                    <a:lnT w="6350" cap="flat" cmpd="sng" algn="ctr">
                      <a:solidFill>
                        <a:srgbClr val="272A59"/>
                      </a:solidFill>
                      <a:prstDash val="solid"/>
                      <a:round/>
                      <a:headEnd type="none" w="med" len="med"/>
                      <a:tailEnd type="none" w="med" len="med"/>
                    </a:lnT>
                    <a:lnB>
                      <a:noFill/>
                    </a:lnB>
                    <a:solidFill>
                      <a:srgbClr val="38279B"/>
                    </a:solidFill>
                  </a:tcPr>
                </a:tc>
                <a:tc>
                  <a:txBody>
                    <a:bodyPr/>
                    <a:lstStyle/>
                    <a:p>
                      <a:pPr algn="r" fontAlgn="ctr"/>
                      <a:r>
                        <a:rPr lang="es-CL" sz="1400" b="1" i="0" u="none" strike="noStrike">
                          <a:solidFill>
                            <a:srgbClr val="FFFFFF"/>
                          </a:solidFill>
                          <a:effectLst/>
                          <a:latin typeface="Aptos" panose="020B0004020202020204" pitchFamily="34" charset="0"/>
                        </a:rPr>
                        <a:t>DEC 24</a:t>
                      </a:r>
                    </a:p>
                  </a:txBody>
                  <a:tcPr marL="0" marR="0" marT="0" marB="0" anchor="ctr">
                    <a:lnL>
                      <a:noFill/>
                    </a:lnL>
                    <a:lnR>
                      <a:noFill/>
                    </a:lnR>
                    <a:lnT w="6350" cap="flat" cmpd="sng" algn="ctr">
                      <a:solidFill>
                        <a:srgbClr val="272A59"/>
                      </a:solidFill>
                      <a:prstDash val="solid"/>
                      <a:round/>
                      <a:headEnd type="none" w="med" len="med"/>
                      <a:tailEnd type="none" w="med" len="med"/>
                    </a:lnT>
                    <a:lnB>
                      <a:noFill/>
                    </a:lnB>
                    <a:solidFill>
                      <a:srgbClr val="38279B"/>
                    </a:solidFill>
                  </a:tcPr>
                </a:tc>
                <a:tc>
                  <a:txBody>
                    <a:bodyPr/>
                    <a:lstStyle/>
                    <a:p>
                      <a:pPr algn="r" fontAlgn="ctr"/>
                      <a:r>
                        <a:rPr lang="es-CL" sz="1400" b="1" i="0" u="none" strike="noStrike">
                          <a:solidFill>
                            <a:srgbClr val="FFFFFF"/>
                          </a:solidFill>
                          <a:effectLst/>
                          <a:latin typeface="Aptos" panose="020B0004020202020204" pitchFamily="34" charset="0"/>
                        </a:rPr>
                        <a:t>MAR 24</a:t>
                      </a:r>
                    </a:p>
                  </a:txBody>
                  <a:tcPr marL="0" marR="0" marT="0" marB="0" anchor="ctr">
                    <a:lnL>
                      <a:noFill/>
                    </a:lnL>
                    <a:lnR>
                      <a:noFill/>
                    </a:lnR>
                    <a:lnT w="6350" cap="flat" cmpd="sng" algn="ctr">
                      <a:solidFill>
                        <a:srgbClr val="272A59"/>
                      </a:solidFill>
                      <a:prstDash val="solid"/>
                      <a:round/>
                      <a:headEnd type="none" w="med" len="med"/>
                      <a:tailEnd type="none" w="med" len="med"/>
                    </a:lnT>
                    <a:lnB>
                      <a:noFill/>
                    </a:lnB>
                    <a:solidFill>
                      <a:srgbClr val="38279B"/>
                    </a:solidFill>
                  </a:tcPr>
                </a:tc>
                <a:extLst>
                  <a:ext uri="{0D108BD9-81ED-4DB2-BD59-A6C34878D82A}">
                    <a16:rowId xmlns:a16="http://schemas.microsoft.com/office/drawing/2014/main" val="4206606390"/>
                  </a:ext>
                </a:extLst>
              </a:tr>
              <a:tr h="184150">
                <a:tc>
                  <a:txBody>
                    <a:bodyPr/>
                    <a:lstStyle/>
                    <a:p>
                      <a:pPr marL="0" algn="l" defTabSz="914400" rtl="0" eaLnBrk="1" fontAlgn="ctr" latinLnBrk="0" hangingPunct="1"/>
                      <a:r>
                        <a:rPr lang="en-US" sz="1400" b="0" i="0" u="none" strike="noStrike" kern="1200">
                          <a:solidFill>
                            <a:srgbClr val="404040"/>
                          </a:solidFill>
                          <a:effectLst/>
                          <a:latin typeface="Aptos" panose="020B0004020202020204" pitchFamily="34" charset="0"/>
                          <a:ea typeface="+mn-ea"/>
                          <a:cs typeface="+mn-cs"/>
                        </a:rPr>
                        <a:t>Gross Financial Debt</a:t>
                      </a:r>
                    </a:p>
                  </a:txBody>
                  <a:tcPr marL="171450" marR="0" marT="0" marB="0" anchor="ctr">
                    <a:lnL>
                      <a:noFill/>
                    </a:lnL>
                    <a:lnR>
                      <a:noFill/>
                    </a:lnR>
                    <a:lnT>
                      <a:noFill/>
                    </a:lnT>
                    <a:lnB>
                      <a:noFill/>
                    </a:lnB>
                    <a:solidFill>
                      <a:srgbClr val="FFFFFF"/>
                    </a:solidFill>
                  </a:tcPr>
                </a:tc>
                <a:tc>
                  <a:txBody>
                    <a:bodyPr/>
                    <a:lstStyle/>
                    <a:p>
                      <a:pPr algn="r" fontAlgn="ctr"/>
                      <a:r>
                        <a:rPr lang="es-CL" sz="1400" b="0" i="0" u="none" strike="noStrike">
                          <a:solidFill>
                            <a:srgbClr val="404040"/>
                          </a:solidFill>
                          <a:effectLst/>
                          <a:latin typeface="Aptos" panose="020B0004020202020204" pitchFamily="34" charset="0"/>
                        </a:rPr>
                        <a:t>CLP MM</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       747,439 </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       737,357 </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    713,175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305460973"/>
                  </a:ext>
                </a:extLst>
              </a:tr>
              <a:tr h="184150">
                <a:tc>
                  <a:txBody>
                    <a:bodyPr/>
                    <a:lstStyle/>
                    <a:p>
                      <a:pPr marL="0" algn="l" defTabSz="914400" rtl="0" eaLnBrk="1" fontAlgn="ctr" latinLnBrk="0" hangingPunct="1"/>
                      <a:r>
                        <a:rPr lang="es-CL" sz="1400" b="0" i="0" u="none" strike="noStrike" kern="1200" err="1">
                          <a:solidFill>
                            <a:srgbClr val="404040"/>
                          </a:solidFill>
                          <a:effectLst/>
                          <a:latin typeface="Aptos" panose="020B0004020202020204" pitchFamily="34" charset="0"/>
                          <a:ea typeface="+mn-ea"/>
                          <a:cs typeface="+mn-cs"/>
                        </a:rPr>
                        <a:t>Duration</a:t>
                      </a:r>
                      <a:endParaRPr lang="es-CL" sz="1400" b="0" i="0" u="none" strike="noStrike" kern="1200">
                        <a:solidFill>
                          <a:srgbClr val="404040"/>
                        </a:solidFill>
                        <a:effectLst/>
                        <a:latin typeface="Aptos" panose="020B0004020202020204" pitchFamily="34" charset="0"/>
                        <a:ea typeface="+mn-ea"/>
                        <a:cs typeface="+mn-cs"/>
                      </a:endParaRPr>
                    </a:p>
                  </a:txBody>
                  <a:tcPr marL="171450" marR="0" marT="0" marB="0" anchor="ctr">
                    <a:lnL>
                      <a:noFill/>
                    </a:lnL>
                    <a:lnR>
                      <a:noFill/>
                    </a:lnR>
                    <a:lnT>
                      <a:noFill/>
                    </a:lnT>
                    <a:lnB>
                      <a:noFill/>
                    </a:lnB>
                    <a:noFill/>
                  </a:tcPr>
                </a:tc>
                <a:tc>
                  <a:txBody>
                    <a:bodyPr/>
                    <a:lstStyle/>
                    <a:p>
                      <a:pPr algn="r" fontAlgn="ctr"/>
                      <a:r>
                        <a:rPr lang="es-CL" sz="1400" b="0" i="0" u="none" strike="noStrike" err="1">
                          <a:solidFill>
                            <a:srgbClr val="404040"/>
                          </a:solidFill>
                          <a:effectLst/>
                          <a:latin typeface="Aptos" panose="020B0004020202020204" pitchFamily="34" charset="0"/>
                        </a:rPr>
                        <a:t>Years</a:t>
                      </a:r>
                      <a:endParaRPr lang="es-CL" sz="1400" b="0" i="0" u="none" strike="noStrike">
                        <a:solidFill>
                          <a:srgbClr val="40404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                 9.8 </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               10.1 </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            10.6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577625335"/>
                  </a:ext>
                </a:extLst>
              </a:tr>
              <a:tr h="184150">
                <a:tc>
                  <a:txBody>
                    <a:bodyPr/>
                    <a:lstStyle/>
                    <a:p>
                      <a:pPr marL="0" algn="l"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Cash Position</a:t>
                      </a:r>
                    </a:p>
                  </a:txBody>
                  <a:tcPr marL="171450" marR="0" marT="0" marB="0" anchor="ctr">
                    <a:lnL>
                      <a:noFill/>
                    </a:lnL>
                    <a:lnR>
                      <a:noFill/>
                    </a:lnR>
                    <a:lnT>
                      <a:noFill/>
                    </a:lnT>
                    <a:lnB>
                      <a:noFill/>
                    </a:lnB>
                    <a:noFill/>
                  </a:tcPr>
                </a:tc>
                <a:tc>
                  <a:txBody>
                    <a:bodyPr/>
                    <a:lstStyle/>
                    <a:p>
                      <a:pPr algn="r" fontAlgn="ctr"/>
                      <a:r>
                        <a:rPr lang="es-CL" sz="1400" b="0" i="0" u="none" strike="noStrike">
                          <a:solidFill>
                            <a:srgbClr val="404040"/>
                          </a:solidFill>
                          <a:effectLst/>
                          <a:latin typeface="Aptos" panose="020B0004020202020204" pitchFamily="34" charset="0"/>
                        </a:rPr>
                        <a:t>CLP MM</a:t>
                      </a:r>
                    </a:p>
                  </a:txBody>
                  <a:tcPr marL="0" marR="0" marT="0" marB="0" anchor="ctr">
                    <a:lnL>
                      <a:noFill/>
                    </a:lnL>
                    <a:lnR>
                      <a:noFill/>
                    </a:lnR>
                    <a:lnT>
                      <a:noFill/>
                    </a:lnT>
                    <a:lnB>
                      <a:noFill/>
                    </a:lnB>
                    <a:no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       157,637 </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       115,052 </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    184,348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584909798"/>
                  </a:ext>
                </a:extLst>
              </a:tr>
              <a:tr h="184150">
                <a:tc>
                  <a:txBody>
                    <a:bodyPr/>
                    <a:lstStyle/>
                    <a:p>
                      <a:pPr marL="0" algn="l"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Net </a:t>
                      </a:r>
                      <a:r>
                        <a:rPr lang="es-CL" sz="1400" b="0" i="0" u="none" strike="noStrike" kern="1200" err="1">
                          <a:solidFill>
                            <a:srgbClr val="404040"/>
                          </a:solidFill>
                          <a:effectLst/>
                          <a:latin typeface="Aptos" panose="020B0004020202020204" pitchFamily="34" charset="0"/>
                          <a:ea typeface="+mn-ea"/>
                          <a:cs typeface="+mn-cs"/>
                        </a:rPr>
                        <a:t>Financial</a:t>
                      </a:r>
                      <a:r>
                        <a:rPr lang="es-CL" sz="1400" b="0" i="0" u="none" strike="noStrike" kern="1200">
                          <a:solidFill>
                            <a:srgbClr val="404040"/>
                          </a:solidFill>
                          <a:effectLst/>
                          <a:latin typeface="Aptos" panose="020B0004020202020204" pitchFamily="34" charset="0"/>
                          <a:ea typeface="+mn-ea"/>
                          <a:cs typeface="+mn-cs"/>
                        </a:rPr>
                        <a:t> </a:t>
                      </a:r>
                      <a:r>
                        <a:rPr lang="es-CL" sz="1400" b="0" i="0" u="none" strike="noStrike" kern="1200" err="1">
                          <a:solidFill>
                            <a:srgbClr val="404040"/>
                          </a:solidFill>
                          <a:effectLst/>
                          <a:latin typeface="Aptos" panose="020B0004020202020204" pitchFamily="34" charset="0"/>
                          <a:ea typeface="+mn-ea"/>
                          <a:cs typeface="+mn-cs"/>
                        </a:rPr>
                        <a:t>Debt</a:t>
                      </a:r>
                      <a:endParaRPr lang="es-CL" sz="1400" b="0" i="0" u="none" strike="noStrike" kern="1200">
                        <a:solidFill>
                          <a:srgbClr val="404040"/>
                        </a:solidFill>
                        <a:effectLst/>
                        <a:latin typeface="Aptos" panose="020B0004020202020204" pitchFamily="34" charset="0"/>
                        <a:ea typeface="+mn-ea"/>
                        <a:cs typeface="+mn-cs"/>
                      </a:endParaRPr>
                    </a:p>
                  </a:txBody>
                  <a:tcPr marL="171450" marR="0" marT="0" marB="0" anchor="ctr">
                    <a:lnL>
                      <a:noFill/>
                    </a:lnL>
                    <a:lnR>
                      <a:noFill/>
                    </a:lnR>
                    <a:lnT>
                      <a:noFill/>
                    </a:lnT>
                    <a:lnB>
                      <a:noFill/>
                    </a:lnB>
                    <a:solidFill>
                      <a:srgbClr val="FFFFFF"/>
                    </a:solidFill>
                  </a:tcPr>
                </a:tc>
                <a:tc>
                  <a:txBody>
                    <a:bodyPr/>
                    <a:lstStyle/>
                    <a:p>
                      <a:pPr algn="r" fontAlgn="ctr"/>
                      <a:r>
                        <a:rPr lang="es-CL" sz="1400" b="0" i="0" u="none" strike="noStrike">
                          <a:solidFill>
                            <a:srgbClr val="404040"/>
                          </a:solidFill>
                          <a:effectLst/>
                          <a:latin typeface="Aptos" panose="020B0004020202020204" pitchFamily="34" charset="0"/>
                        </a:rPr>
                        <a:t>CLP MM</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       589,802 </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       622,305 </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    528,827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814845533"/>
                  </a:ext>
                </a:extLst>
              </a:tr>
              <a:tr h="184150">
                <a:tc>
                  <a:txBody>
                    <a:bodyPr/>
                    <a:lstStyle/>
                    <a:p>
                      <a:pPr marL="0" algn="l"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NFD</a:t>
                      </a:r>
                      <a:r>
                        <a:rPr lang="es-CL" sz="1400" b="0" i="0" u="none" strike="noStrike" kern="1200" baseline="30000">
                          <a:solidFill>
                            <a:srgbClr val="404040"/>
                          </a:solidFill>
                          <a:effectLst/>
                          <a:latin typeface="Aptos" panose="020B0004020202020204" pitchFamily="34" charset="0"/>
                          <a:ea typeface="+mn-ea"/>
                          <a:cs typeface="+mn-cs"/>
                        </a:rPr>
                        <a:t>(3)</a:t>
                      </a:r>
                      <a:r>
                        <a:rPr lang="es-CL" sz="1400" b="0" i="0" u="none" strike="noStrike" kern="1200">
                          <a:solidFill>
                            <a:srgbClr val="404040"/>
                          </a:solidFill>
                          <a:effectLst/>
                          <a:latin typeface="Aptos" panose="020B0004020202020204" pitchFamily="34" charset="0"/>
                          <a:ea typeface="+mn-ea"/>
                          <a:cs typeface="+mn-cs"/>
                        </a:rPr>
                        <a:t>/ LTM </a:t>
                      </a:r>
                      <a:r>
                        <a:rPr lang="es-CL" sz="1400" b="0" i="0" u="none" strike="noStrike" kern="1200" err="1">
                          <a:solidFill>
                            <a:srgbClr val="404040"/>
                          </a:solidFill>
                          <a:effectLst/>
                          <a:latin typeface="Aptos" panose="020B0004020202020204" pitchFamily="34" charset="0"/>
                          <a:ea typeface="+mn-ea"/>
                          <a:cs typeface="+mn-cs"/>
                        </a:rPr>
                        <a:t>Adjusted</a:t>
                      </a:r>
                      <a:r>
                        <a:rPr lang="es-CL" sz="1400" b="0" i="0" u="none" strike="noStrike" kern="1200">
                          <a:solidFill>
                            <a:srgbClr val="404040"/>
                          </a:solidFill>
                          <a:effectLst/>
                          <a:latin typeface="Aptos" panose="020B0004020202020204" pitchFamily="34" charset="0"/>
                          <a:ea typeface="+mn-ea"/>
                          <a:cs typeface="+mn-cs"/>
                        </a:rPr>
                        <a:t> EBITDA</a:t>
                      </a:r>
                    </a:p>
                  </a:txBody>
                  <a:tcPr marL="17145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s-CL" sz="1400" b="0" i="0" u="none" strike="noStrike">
                          <a:solidFill>
                            <a:srgbClr val="404040"/>
                          </a:solidFill>
                          <a:effectLst/>
                          <a:latin typeface="Aptos" panose="020B0004020202020204" pitchFamily="34" charset="0"/>
                        </a:rPr>
                        <a:t>Times</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                 1.8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                 1.9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               1.8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44575941"/>
                  </a:ext>
                </a:extLst>
              </a:tr>
            </a:tbl>
          </a:graphicData>
        </a:graphic>
      </p:graphicFrame>
      <p:graphicFrame>
        <p:nvGraphicFramePr>
          <p:cNvPr id="6" name="Tabla 5">
            <a:extLst>
              <a:ext uri="{FF2B5EF4-FFF2-40B4-BE49-F238E27FC236}">
                <a16:creationId xmlns:a16="http://schemas.microsoft.com/office/drawing/2014/main" id="{B39F64A4-752C-194B-2617-E6A98CDF7B15}"/>
              </a:ext>
            </a:extLst>
          </p:cNvPr>
          <p:cNvGraphicFramePr>
            <a:graphicFrameLocks noGrp="1"/>
          </p:cNvGraphicFramePr>
          <p:nvPr>
            <p:extLst>
              <p:ext uri="{D42A27DB-BD31-4B8C-83A1-F6EECF244321}">
                <p14:modId xmlns:p14="http://schemas.microsoft.com/office/powerpoint/2010/main" val="607481125"/>
              </p:ext>
            </p:extLst>
          </p:nvPr>
        </p:nvGraphicFramePr>
        <p:xfrm>
          <a:off x="214812" y="3025796"/>
          <a:ext cx="6588000" cy="1706880"/>
        </p:xfrm>
        <a:graphic>
          <a:graphicData uri="http://schemas.openxmlformats.org/drawingml/2006/table">
            <a:tbl>
              <a:tblPr/>
              <a:tblGrid>
                <a:gridCol w="3060000">
                  <a:extLst>
                    <a:ext uri="{9D8B030D-6E8A-4147-A177-3AD203B41FA5}">
                      <a16:colId xmlns:a16="http://schemas.microsoft.com/office/drawing/2014/main" val="903342431"/>
                    </a:ext>
                  </a:extLst>
                </a:gridCol>
                <a:gridCol w="720000">
                  <a:extLst>
                    <a:ext uri="{9D8B030D-6E8A-4147-A177-3AD203B41FA5}">
                      <a16:colId xmlns:a16="http://schemas.microsoft.com/office/drawing/2014/main" val="2496609882"/>
                    </a:ext>
                  </a:extLst>
                </a:gridCol>
                <a:gridCol w="936000">
                  <a:extLst>
                    <a:ext uri="{9D8B030D-6E8A-4147-A177-3AD203B41FA5}">
                      <a16:colId xmlns:a16="http://schemas.microsoft.com/office/drawing/2014/main" val="2442676012"/>
                    </a:ext>
                  </a:extLst>
                </a:gridCol>
                <a:gridCol w="936000">
                  <a:extLst>
                    <a:ext uri="{9D8B030D-6E8A-4147-A177-3AD203B41FA5}">
                      <a16:colId xmlns:a16="http://schemas.microsoft.com/office/drawing/2014/main" val="1464177079"/>
                    </a:ext>
                  </a:extLst>
                </a:gridCol>
                <a:gridCol w="936000">
                  <a:extLst>
                    <a:ext uri="{9D8B030D-6E8A-4147-A177-3AD203B41FA5}">
                      <a16:colId xmlns:a16="http://schemas.microsoft.com/office/drawing/2014/main" val="3104432738"/>
                    </a:ext>
                  </a:extLst>
                </a:gridCol>
              </a:tblGrid>
              <a:tr h="184150">
                <a:tc>
                  <a:txBody>
                    <a:bodyPr/>
                    <a:lstStyle/>
                    <a:p>
                      <a:pPr algn="l" fontAlgn="ctr"/>
                      <a:r>
                        <a:rPr lang="es-CL" sz="1400" b="1" i="0" u="none" strike="noStrike" err="1">
                          <a:solidFill>
                            <a:srgbClr val="FFFFFF"/>
                          </a:solidFill>
                          <a:effectLst/>
                          <a:latin typeface="Aptos" panose="020B0004020202020204" pitchFamily="34" charset="0"/>
                        </a:rPr>
                        <a:t>Financial</a:t>
                      </a:r>
                      <a:r>
                        <a:rPr lang="es-CL" sz="1400" b="1" i="0" u="none" strike="noStrike">
                          <a:solidFill>
                            <a:srgbClr val="FFFFFF"/>
                          </a:solidFill>
                          <a:effectLst/>
                          <a:latin typeface="Aptos" panose="020B0004020202020204" pitchFamily="34" charset="0"/>
                        </a:rPr>
                        <a:t> Ratios</a:t>
                      </a:r>
                    </a:p>
                  </a:txBody>
                  <a:tcPr marL="0" marR="0" marT="0" marB="0" anchor="ctr">
                    <a:lnL w="6350" cap="flat" cmpd="sng" algn="ctr">
                      <a:solidFill>
                        <a:srgbClr val="272A59"/>
                      </a:solidFill>
                      <a:prstDash val="solid"/>
                      <a:round/>
                      <a:headEnd type="none" w="med" len="med"/>
                      <a:tailEnd type="none" w="med" len="med"/>
                    </a:lnL>
                    <a:lnR>
                      <a:noFill/>
                    </a:lnR>
                    <a:lnT w="6350" cap="flat" cmpd="sng" algn="ctr">
                      <a:solidFill>
                        <a:srgbClr val="272A59"/>
                      </a:solidFill>
                      <a:prstDash val="solid"/>
                      <a:round/>
                      <a:headEnd type="none" w="med" len="med"/>
                      <a:tailEnd type="none" w="med" len="med"/>
                    </a:lnT>
                    <a:lnB>
                      <a:noFill/>
                    </a:lnB>
                    <a:solidFill>
                      <a:srgbClr val="38279B"/>
                    </a:solidFill>
                  </a:tcPr>
                </a:tc>
                <a:tc>
                  <a:txBody>
                    <a:bodyPr/>
                    <a:lstStyle/>
                    <a:p>
                      <a:pPr algn="r" fontAlgn="ctr"/>
                      <a:r>
                        <a:rPr lang="es-CL" sz="1400" b="1" i="0" u="none" strike="noStrike" err="1">
                          <a:solidFill>
                            <a:srgbClr val="FFFFFF"/>
                          </a:solidFill>
                          <a:effectLst/>
                          <a:latin typeface="Aptos" panose="020B0004020202020204" pitchFamily="34" charset="0"/>
                        </a:rPr>
                        <a:t>Unit</a:t>
                      </a:r>
                      <a:endParaRPr lang="es-CL" sz="1400" b="1" i="0" u="none" strike="noStrike">
                        <a:solidFill>
                          <a:srgbClr val="FFFFFF"/>
                        </a:solidFill>
                        <a:effectLst/>
                        <a:latin typeface="Aptos" panose="020B0004020202020204" pitchFamily="34" charset="0"/>
                      </a:endParaRPr>
                    </a:p>
                  </a:txBody>
                  <a:tcPr marL="0" marR="0" marT="0" marB="0" anchor="ctr">
                    <a:lnL>
                      <a:noFill/>
                    </a:lnL>
                    <a:lnR>
                      <a:noFill/>
                    </a:lnR>
                    <a:lnT w="6350" cap="flat" cmpd="sng" algn="ctr">
                      <a:solidFill>
                        <a:srgbClr val="272A59"/>
                      </a:solidFill>
                      <a:prstDash val="solid"/>
                      <a:round/>
                      <a:headEnd type="none" w="med" len="med"/>
                      <a:tailEnd type="none" w="med" len="med"/>
                    </a:lnT>
                    <a:lnB>
                      <a:noFill/>
                    </a:lnB>
                    <a:solidFill>
                      <a:srgbClr val="38279B"/>
                    </a:solidFill>
                  </a:tcPr>
                </a:tc>
                <a:tc>
                  <a:txBody>
                    <a:bodyPr/>
                    <a:lstStyle/>
                    <a:p>
                      <a:pPr algn="r" fontAlgn="ctr"/>
                      <a:r>
                        <a:rPr lang="es-CL" sz="1400" b="1" i="0" u="none" strike="noStrike">
                          <a:solidFill>
                            <a:srgbClr val="FFFFFF"/>
                          </a:solidFill>
                          <a:effectLst/>
                          <a:latin typeface="Aptos" panose="020B0004020202020204" pitchFamily="34" charset="0"/>
                        </a:rPr>
                        <a:t>MAR 25</a:t>
                      </a:r>
                    </a:p>
                  </a:txBody>
                  <a:tcPr marL="0" marR="0" marT="0" marB="0" anchor="ctr">
                    <a:lnL>
                      <a:noFill/>
                    </a:lnL>
                    <a:lnR>
                      <a:noFill/>
                    </a:lnR>
                    <a:lnT w="6350" cap="flat" cmpd="sng" algn="ctr">
                      <a:solidFill>
                        <a:srgbClr val="272A59"/>
                      </a:solidFill>
                      <a:prstDash val="solid"/>
                      <a:round/>
                      <a:headEnd type="none" w="med" len="med"/>
                      <a:tailEnd type="none" w="med" len="med"/>
                    </a:lnT>
                    <a:lnB>
                      <a:noFill/>
                    </a:lnB>
                    <a:solidFill>
                      <a:srgbClr val="38279B"/>
                    </a:solidFill>
                  </a:tcPr>
                </a:tc>
                <a:tc>
                  <a:txBody>
                    <a:bodyPr/>
                    <a:lstStyle/>
                    <a:p>
                      <a:pPr algn="r" fontAlgn="ctr"/>
                      <a:r>
                        <a:rPr lang="es-CL" sz="1400" b="1" i="0" u="none" strike="noStrike">
                          <a:solidFill>
                            <a:srgbClr val="FFFFFF"/>
                          </a:solidFill>
                          <a:effectLst/>
                          <a:latin typeface="Aptos" panose="020B0004020202020204" pitchFamily="34" charset="0"/>
                        </a:rPr>
                        <a:t>DEC 24</a:t>
                      </a:r>
                    </a:p>
                  </a:txBody>
                  <a:tcPr marL="0" marR="0" marT="0" marB="0" anchor="ctr">
                    <a:lnL>
                      <a:noFill/>
                    </a:lnL>
                    <a:lnR>
                      <a:noFill/>
                    </a:lnR>
                    <a:lnT w="6350" cap="flat" cmpd="sng" algn="ctr">
                      <a:solidFill>
                        <a:srgbClr val="272A59"/>
                      </a:solidFill>
                      <a:prstDash val="solid"/>
                      <a:round/>
                      <a:headEnd type="none" w="med" len="med"/>
                      <a:tailEnd type="none" w="med" len="med"/>
                    </a:lnT>
                    <a:lnB>
                      <a:noFill/>
                    </a:lnB>
                    <a:solidFill>
                      <a:srgbClr val="38279B"/>
                    </a:solidFill>
                  </a:tcPr>
                </a:tc>
                <a:tc>
                  <a:txBody>
                    <a:bodyPr/>
                    <a:lstStyle/>
                    <a:p>
                      <a:pPr algn="r" fontAlgn="ctr"/>
                      <a:r>
                        <a:rPr lang="es-CL" sz="1400" b="1" i="0" u="none" strike="noStrike">
                          <a:solidFill>
                            <a:srgbClr val="FFFFFF"/>
                          </a:solidFill>
                          <a:effectLst/>
                          <a:latin typeface="Aptos" panose="020B0004020202020204" pitchFamily="34" charset="0"/>
                        </a:rPr>
                        <a:t>MAR 24</a:t>
                      </a:r>
                    </a:p>
                  </a:txBody>
                  <a:tcPr marL="0" marR="0" marT="0" marB="0" anchor="ctr">
                    <a:lnL>
                      <a:noFill/>
                    </a:lnL>
                    <a:lnR>
                      <a:noFill/>
                    </a:lnR>
                    <a:lnT w="6350" cap="flat" cmpd="sng" algn="ctr">
                      <a:solidFill>
                        <a:srgbClr val="272A59"/>
                      </a:solidFill>
                      <a:prstDash val="solid"/>
                      <a:round/>
                      <a:headEnd type="none" w="med" len="med"/>
                      <a:tailEnd type="none" w="med" len="med"/>
                    </a:lnT>
                    <a:lnB>
                      <a:noFill/>
                    </a:lnB>
                    <a:solidFill>
                      <a:srgbClr val="38279B"/>
                    </a:solidFill>
                  </a:tcPr>
                </a:tc>
                <a:extLst>
                  <a:ext uri="{0D108BD9-81ED-4DB2-BD59-A6C34878D82A}">
                    <a16:rowId xmlns:a16="http://schemas.microsoft.com/office/drawing/2014/main" val="2843459923"/>
                  </a:ext>
                </a:extLst>
              </a:tr>
              <a:tr h="184150">
                <a:tc>
                  <a:txBody>
                    <a:bodyPr/>
                    <a:lstStyle/>
                    <a:p>
                      <a:pPr algn="l" fontAlgn="ctr"/>
                      <a:r>
                        <a:rPr lang="es-CL" sz="1400" b="0" i="0" u="none" strike="noStrike" err="1">
                          <a:solidFill>
                            <a:srgbClr val="404040"/>
                          </a:solidFill>
                          <a:effectLst/>
                          <a:latin typeface="Aptos" panose="020B0004020202020204" pitchFamily="34" charset="0"/>
                        </a:rPr>
                        <a:t>Liabilities</a:t>
                      </a:r>
                      <a:r>
                        <a:rPr lang="es-CL" sz="1400" b="0" i="0" u="none" strike="noStrike">
                          <a:solidFill>
                            <a:srgbClr val="404040"/>
                          </a:solidFill>
                          <a:effectLst/>
                          <a:latin typeface="Aptos" panose="020B0004020202020204" pitchFamily="34" charset="0"/>
                        </a:rPr>
                        <a:t> / </a:t>
                      </a:r>
                      <a:r>
                        <a:rPr lang="es-CL" sz="1400" b="0" i="0" u="none" strike="noStrike" err="1">
                          <a:solidFill>
                            <a:srgbClr val="404040"/>
                          </a:solidFill>
                          <a:effectLst/>
                          <a:latin typeface="Aptos" panose="020B0004020202020204" pitchFamily="34" charset="0"/>
                        </a:rPr>
                        <a:t>Equity</a:t>
                      </a:r>
                      <a:endParaRPr lang="es-CL" sz="1400" b="0" i="0" u="none" strike="noStrike">
                        <a:solidFill>
                          <a:srgbClr val="404040"/>
                        </a:solidFill>
                        <a:effectLst/>
                        <a:latin typeface="Aptos" panose="020B0004020202020204" pitchFamily="34" charset="0"/>
                      </a:endParaRPr>
                    </a:p>
                  </a:txBody>
                  <a:tcPr marL="190500" marR="0" marT="0" marB="0" anchor="ctr">
                    <a:lnL>
                      <a:noFill/>
                    </a:lnL>
                    <a:lnR>
                      <a:noFill/>
                    </a:lnR>
                    <a:lnT>
                      <a:noFill/>
                    </a:lnT>
                    <a:lnB>
                      <a:noFill/>
                    </a:lnB>
                    <a:solidFill>
                      <a:srgbClr val="FFFFFF"/>
                    </a:solidFill>
                  </a:tcPr>
                </a:tc>
                <a:tc>
                  <a:txBody>
                    <a:bodyPr/>
                    <a:lstStyle/>
                    <a:p>
                      <a:pPr algn="r" fontAlgn="ctr"/>
                      <a:r>
                        <a:rPr lang="es-CL" sz="1400" b="0" i="0" u="none" strike="noStrike">
                          <a:solidFill>
                            <a:srgbClr val="404040"/>
                          </a:solidFill>
                          <a:effectLst/>
                          <a:latin typeface="Aptos" panose="020B0004020202020204" pitchFamily="34" charset="0"/>
                        </a:rPr>
                        <a:t>Times</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0.5</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0.5</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0.5</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902335395"/>
                  </a:ext>
                </a:extLst>
              </a:tr>
              <a:tr h="184150">
                <a:tc>
                  <a:txBody>
                    <a:bodyPr/>
                    <a:lstStyle/>
                    <a:p>
                      <a:pPr algn="l" fontAlgn="ctr"/>
                      <a:r>
                        <a:rPr lang="es-CL" sz="1400" b="0" i="0" u="none" strike="noStrike" err="1">
                          <a:solidFill>
                            <a:srgbClr val="404040"/>
                          </a:solidFill>
                          <a:effectLst/>
                          <a:latin typeface="Aptos" panose="020B0004020202020204" pitchFamily="34" charset="0"/>
                        </a:rPr>
                        <a:t>Liquidity</a:t>
                      </a:r>
                      <a:r>
                        <a:rPr lang="es-CL" sz="1400" b="0" i="0" u="none" strike="noStrike">
                          <a:solidFill>
                            <a:srgbClr val="404040"/>
                          </a:solidFill>
                          <a:effectLst/>
                          <a:latin typeface="Aptos" panose="020B0004020202020204" pitchFamily="34" charset="0"/>
                        </a:rPr>
                        <a:t> Ratio </a:t>
                      </a:r>
                      <a:r>
                        <a:rPr lang="es-CL" sz="1400" b="0" i="0" u="none" strike="noStrike" baseline="30000">
                          <a:solidFill>
                            <a:srgbClr val="404040"/>
                          </a:solidFill>
                          <a:effectLst/>
                          <a:latin typeface="Aptos" panose="020B0004020202020204" pitchFamily="34" charset="0"/>
                        </a:rPr>
                        <a:t>(4)</a:t>
                      </a:r>
                    </a:p>
                  </a:txBody>
                  <a:tcPr marL="190500" marR="0" marT="0" marB="0" anchor="ctr">
                    <a:lnL>
                      <a:noFill/>
                    </a:lnL>
                    <a:lnR>
                      <a:noFill/>
                    </a:lnR>
                    <a:lnT>
                      <a:noFill/>
                    </a:lnT>
                    <a:lnB>
                      <a:noFill/>
                    </a:lnB>
                    <a:solidFill>
                      <a:srgbClr val="FFFFFF"/>
                    </a:solidFill>
                  </a:tcPr>
                </a:tc>
                <a:tc>
                  <a:txBody>
                    <a:bodyPr/>
                    <a:lstStyle/>
                    <a:p>
                      <a:pPr algn="r" fontAlgn="ctr"/>
                      <a:r>
                        <a:rPr lang="es-CL" sz="1400" b="0" i="0" u="none" strike="noStrike">
                          <a:solidFill>
                            <a:srgbClr val="404040"/>
                          </a:solidFill>
                          <a:effectLst/>
                          <a:latin typeface="Aptos" panose="020B0004020202020204" pitchFamily="34" charset="0"/>
                        </a:rPr>
                        <a:t>Times</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1.8</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1.8</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2.2</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388219955"/>
                  </a:ext>
                </a:extLst>
              </a:tr>
              <a:tr h="184150">
                <a:tc>
                  <a:txBody>
                    <a:bodyPr/>
                    <a:lstStyle/>
                    <a:p>
                      <a:pPr algn="l" fontAlgn="ctr"/>
                      <a:r>
                        <a:rPr lang="es-CL" sz="1400" b="0" i="0" u="none" strike="noStrike" err="1">
                          <a:solidFill>
                            <a:srgbClr val="404040"/>
                          </a:solidFill>
                          <a:effectLst/>
                          <a:latin typeface="Aptos" panose="020B0004020202020204" pitchFamily="34" charset="0"/>
                        </a:rPr>
                        <a:t>Debt</a:t>
                      </a:r>
                      <a:r>
                        <a:rPr lang="es-CL" sz="1400" b="0" i="0" u="none" strike="noStrike">
                          <a:solidFill>
                            <a:srgbClr val="404040"/>
                          </a:solidFill>
                          <a:effectLst/>
                          <a:latin typeface="Aptos" panose="020B0004020202020204" pitchFamily="34" charset="0"/>
                        </a:rPr>
                        <a:t> Ratio </a:t>
                      </a:r>
                      <a:r>
                        <a:rPr lang="es-CL" sz="1400" b="0" i="0" u="none" strike="noStrike" baseline="30000">
                          <a:solidFill>
                            <a:srgbClr val="404040"/>
                          </a:solidFill>
                          <a:effectLst/>
                          <a:latin typeface="Aptos" panose="020B0004020202020204" pitchFamily="34" charset="0"/>
                        </a:rPr>
                        <a:t>(5)</a:t>
                      </a:r>
                    </a:p>
                  </a:txBody>
                  <a:tcPr marL="190500" marR="0" marT="0" marB="0" anchor="ctr">
                    <a:lnL>
                      <a:noFill/>
                    </a:lnL>
                    <a:lnR>
                      <a:noFill/>
                    </a:lnR>
                    <a:lnT>
                      <a:noFill/>
                    </a:lnT>
                    <a:lnB>
                      <a:noFill/>
                    </a:lnB>
                    <a:solidFill>
                      <a:srgbClr val="FFFFFF"/>
                    </a:solidFill>
                  </a:tcPr>
                </a:tc>
                <a:tc>
                  <a:txBody>
                    <a:bodyPr/>
                    <a:lstStyle/>
                    <a:p>
                      <a:pPr algn="r" fontAlgn="ctr"/>
                      <a:r>
                        <a:rPr lang="es-CL" sz="1400" b="0" i="0" u="none" strike="noStrike">
                          <a:solidFill>
                            <a:srgbClr val="404040"/>
                          </a:solidFill>
                          <a:effectLst/>
                          <a:latin typeface="Aptos" panose="020B0004020202020204" pitchFamily="34" charset="0"/>
                        </a:rPr>
                        <a:t>Times</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0.3</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0.3</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0.3</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817008694"/>
                  </a:ext>
                </a:extLst>
              </a:tr>
              <a:tr h="184150">
                <a:tc>
                  <a:txBody>
                    <a:bodyPr/>
                    <a:lstStyle/>
                    <a:p>
                      <a:pPr algn="l" fontAlgn="ctr"/>
                      <a:r>
                        <a:rPr lang="es-CL" sz="1400" b="0" i="0" u="none" strike="noStrike">
                          <a:solidFill>
                            <a:srgbClr val="404040"/>
                          </a:solidFill>
                          <a:effectLst/>
                          <a:latin typeface="Aptos" panose="020B0004020202020204" pitchFamily="34" charset="0"/>
                        </a:rPr>
                        <a:t>LTM EBITDA / LTM </a:t>
                      </a:r>
                      <a:r>
                        <a:rPr lang="es-CL" sz="1400" b="0" i="0" u="none" strike="noStrike" err="1">
                          <a:solidFill>
                            <a:srgbClr val="404040"/>
                          </a:solidFill>
                          <a:effectLst/>
                          <a:latin typeface="Aptos" panose="020B0004020202020204" pitchFamily="34" charset="0"/>
                        </a:rPr>
                        <a:t>Financial</a:t>
                      </a:r>
                      <a:r>
                        <a:rPr lang="es-CL" sz="1400" b="0" i="0" u="none" strike="noStrike">
                          <a:solidFill>
                            <a:srgbClr val="404040"/>
                          </a:solidFill>
                          <a:effectLst/>
                          <a:latin typeface="Aptos" panose="020B0004020202020204" pitchFamily="34" charset="0"/>
                        </a:rPr>
                        <a:t> Expenses</a:t>
                      </a:r>
                    </a:p>
                  </a:txBody>
                  <a:tcPr marL="190500" marR="0" marT="0" marB="0" anchor="ctr">
                    <a:lnL>
                      <a:noFill/>
                    </a:lnL>
                    <a:lnR>
                      <a:noFill/>
                    </a:lnR>
                    <a:lnT>
                      <a:noFill/>
                    </a:lnT>
                    <a:lnB>
                      <a:noFill/>
                    </a:lnB>
                    <a:solidFill>
                      <a:srgbClr val="FFFFFF"/>
                    </a:solidFill>
                  </a:tcPr>
                </a:tc>
                <a:tc>
                  <a:txBody>
                    <a:bodyPr/>
                    <a:lstStyle/>
                    <a:p>
                      <a:pPr algn="r" fontAlgn="ctr"/>
                      <a:r>
                        <a:rPr lang="es-CL" sz="1400" b="0" i="0" u="none" strike="noStrike">
                          <a:solidFill>
                            <a:srgbClr val="404040"/>
                          </a:solidFill>
                          <a:effectLst/>
                          <a:latin typeface="Aptos" panose="020B0004020202020204" pitchFamily="34" charset="0"/>
                        </a:rPr>
                        <a:t>Times</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24.9</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24.5</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22.6</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614566359"/>
                  </a:ext>
                </a:extLst>
              </a:tr>
              <a:tr h="184150">
                <a:tc>
                  <a:txBody>
                    <a:bodyPr/>
                    <a:lstStyle/>
                    <a:p>
                      <a:pPr algn="l" fontAlgn="ctr"/>
                      <a:r>
                        <a:rPr lang="es-CL" sz="1400" b="0" i="0" u="none" strike="noStrike">
                          <a:solidFill>
                            <a:srgbClr val="404040"/>
                          </a:solidFill>
                          <a:effectLst/>
                          <a:latin typeface="Aptos" panose="020B0004020202020204" pitchFamily="34" charset="0"/>
                        </a:rPr>
                        <a:t>LTM FFO / NFD</a:t>
                      </a:r>
                    </a:p>
                  </a:txBody>
                  <a:tcPr marL="190500" marR="0" marT="0" marB="0" anchor="ctr">
                    <a:lnL>
                      <a:noFill/>
                    </a:lnL>
                    <a:lnR>
                      <a:noFill/>
                    </a:lnR>
                    <a:lnT>
                      <a:noFill/>
                    </a:lnT>
                    <a:lnB>
                      <a:noFill/>
                    </a:lnB>
                    <a:noFill/>
                  </a:tcPr>
                </a:tc>
                <a:tc>
                  <a:txBody>
                    <a:bodyPr/>
                    <a:lstStyle/>
                    <a:p>
                      <a:pPr algn="r" fontAlgn="ctr"/>
                      <a:r>
                        <a:rPr lang="es-CL" sz="1400" b="0" i="0" u="none" strike="noStrike">
                          <a:solidFill>
                            <a:srgbClr val="404040"/>
                          </a:solidFill>
                          <a:effectLst/>
                          <a:latin typeface="Aptos" panose="020B0004020202020204" pitchFamily="34" charset="0"/>
                        </a:rPr>
                        <a:t>%</a:t>
                      </a:r>
                    </a:p>
                  </a:txBody>
                  <a:tcPr marL="0" marR="0" marT="0" marB="0" anchor="ctr">
                    <a:lnL>
                      <a:noFill/>
                    </a:lnL>
                    <a:lnR>
                      <a:noFill/>
                    </a:lnR>
                    <a:lnT>
                      <a:noFill/>
                    </a:lnT>
                    <a:lnB>
                      <a:noFill/>
                    </a:lnB>
                    <a:no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43.2%</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40.3%</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43.3%</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903179443"/>
                  </a:ext>
                </a:extLst>
              </a:tr>
              <a:tr h="184150">
                <a:tc>
                  <a:txBody>
                    <a:bodyPr/>
                    <a:lstStyle/>
                    <a:p>
                      <a:pPr algn="l" fontAlgn="ctr"/>
                      <a:r>
                        <a:rPr lang="en-US" sz="1400" b="0" i="0" u="none" strike="noStrike">
                          <a:solidFill>
                            <a:srgbClr val="404040"/>
                          </a:solidFill>
                          <a:effectLst/>
                          <a:latin typeface="Aptos" panose="020B0004020202020204" pitchFamily="34" charset="0"/>
                        </a:rPr>
                        <a:t>LTM Net Income / Total Asset</a:t>
                      </a:r>
                      <a:endParaRPr lang="es-CL" sz="1400" b="0" i="0" u="none" strike="noStrike">
                        <a:solidFill>
                          <a:srgbClr val="404040"/>
                        </a:solidFill>
                        <a:effectLst/>
                        <a:latin typeface="Aptos" panose="020B0004020202020204" pitchFamily="34" charset="0"/>
                      </a:endParaRPr>
                    </a:p>
                  </a:txBody>
                  <a:tcPr marL="190500" marR="0" marT="0" marB="0" anchor="ctr">
                    <a:lnL>
                      <a:noFill/>
                    </a:lnL>
                    <a:lnR>
                      <a:noFill/>
                    </a:lnR>
                    <a:lnT>
                      <a:noFill/>
                    </a:lnT>
                    <a:lnB>
                      <a:noFill/>
                    </a:lnB>
                    <a:solidFill>
                      <a:srgbClr val="FFFFFF"/>
                    </a:solidFill>
                  </a:tcPr>
                </a:tc>
                <a:tc>
                  <a:txBody>
                    <a:bodyPr/>
                    <a:lstStyle/>
                    <a:p>
                      <a:pPr algn="r" fontAlgn="ctr"/>
                      <a:r>
                        <a:rPr lang="es-CL" sz="1400" b="0" i="0" u="none" strike="noStrike">
                          <a:solidFill>
                            <a:srgbClr val="404040"/>
                          </a:solidFill>
                          <a:effectLst/>
                          <a:latin typeface="Aptos" panose="020B0004020202020204" pitchFamily="34" charset="0"/>
                        </a:rPr>
                        <a:t>%</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6.1%</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6.2%</a:t>
                      </a:r>
                    </a:p>
                  </a:txBody>
                  <a:tcPr marL="0" marR="0" marT="0" marB="0" anchor="ctr">
                    <a:lnL>
                      <a:noFill/>
                    </a:lnL>
                    <a:lnR>
                      <a:noFill/>
                    </a:lnR>
                    <a:lnT>
                      <a:noFill/>
                    </a:lnT>
                    <a:lnB>
                      <a:noFill/>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5.1%</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052502684"/>
                  </a:ext>
                </a:extLst>
              </a:tr>
              <a:tr h="184150">
                <a:tc>
                  <a:txBody>
                    <a:bodyPr/>
                    <a:lstStyle/>
                    <a:p>
                      <a:pPr algn="l" fontAlgn="ctr"/>
                      <a:r>
                        <a:rPr lang="en-US" sz="1400" b="0" i="0" u="none" strike="noStrike">
                          <a:solidFill>
                            <a:srgbClr val="404040"/>
                          </a:solidFill>
                          <a:effectLst/>
                          <a:latin typeface="Aptos" panose="020B0004020202020204" pitchFamily="34" charset="0"/>
                        </a:rPr>
                        <a:t>LTM Net Income / Total Equity</a:t>
                      </a:r>
                      <a:endParaRPr lang="es-CL" sz="1400" b="0" i="0" u="none" strike="noStrike">
                        <a:solidFill>
                          <a:srgbClr val="404040"/>
                        </a:solidFill>
                        <a:effectLst/>
                        <a:latin typeface="Aptos" panose="020B0004020202020204" pitchFamily="34" charset="0"/>
                      </a:endParaRPr>
                    </a:p>
                  </a:txBody>
                  <a:tcPr marL="19050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s-CL" sz="1400" b="0" i="0" u="none" strike="noStrike">
                          <a:solidFill>
                            <a:srgbClr val="404040"/>
                          </a:solidFill>
                          <a:effectLst/>
                          <a:latin typeface="Aptos" panose="020B0004020202020204" pitchFamily="34" charset="0"/>
                        </a:rPr>
                        <a:t>%</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9.3%</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9.4%</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marL="0" algn="r" defTabSz="914400" rtl="0" eaLnBrk="1" fontAlgn="ctr" latinLnBrk="0" hangingPunct="1"/>
                      <a:r>
                        <a:rPr lang="es-CL" sz="1400" b="0" i="0" u="none" strike="noStrike" kern="1200">
                          <a:solidFill>
                            <a:srgbClr val="404040"/>
                          </a:solidFill>
                          <a:effectLst/>
                          <a:latin typeface="Aptos" panose="020B0004020202020204" pitchFamily="34" charset="0"/>
                          <a:ea typeface="+mn-ea"/>
                          <a:cs typeface="+mn-cs"/>
                        </a:rPr>
                        <a:t>7.6%</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04131802"/>
                  </a:ext>
                </a:extLst>
              </a:tr>
            </a:tbl>
          </a:graphicData>
        </a:graphic>
      </p:graphicFrame>
      <p:sp>
        <p:nvSpPr>
          <p:cNvPr id="2" name="Marcador de número de diapositiva 1">
            <a:extLst>
              <a:ext uri="{FF2B5EF4-FFF2-40B4-BE49-F238E27FC236}">
                <a16:creationId xmlns:a16="http://schemas.microsoft.com/office/drawing/2014/main" id="{8AE940BB-3FEF-BFD8-979E-07D22E24EB3E}"/>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19</a:t>
            </a:fld>
            <a:endParaRPr lang="es-CL"/>
          </a:p>
        </p:txBody>
      </p:sp>
    </p:spTree>
    <p:extLst>
      <p:ext uri="{BB962C8B-B14F-4D97-AF65-F5344CB8AC3E}">
        <p14:creationId xmlns:p14="http://schemas.microsoft.com/office/powerpoint/2010/main" val="36667143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a:extLst>
              <a:ext uri="{FF2B5EF4-FFF2-40B4-BE49-F238E27FC236}">
                <a16:creationId xmlns:a16="http://schemas.microsoft.com/office/drawing/2014/main" id="{9BD77235-8319-9878-0198-14155DDA7D6F}"/>
              </a:ext>
            </a:extLst>
          </p:cNvPr>
          <p:cNvPicPr>
            <a:picLocks noChangeAspect="1"/>
          </p:cNvPicPr>
          <p:nvPr/>
        </p:nvPicPr>
        <p:blipFill>
          <a:blip r:embed="rId3"/>
          <a:stretch>
            <a:fillRect/>
          </a:stretch>
        </p:blipFill>
        <p:spPr>
          <a:xfrm>
            <a:off x="0" y="0"/>
            <a:ext cx="12192000" cy="6858000"/>
          </a:xfrm>
          <a:prstGeom prst="rect">
            <a:avLst/>
          </a:prstGeom>
        </p:spPr>
      </p:pic>
      <p:sp>
        <p:nvSpPr>
          <p:cNvPr id="2" name="Marcador de número de diapositiva 1">
            <a:extLst>
              <a:ext uri="{FF2B5EF4-FFF2-40B4-BE49-F238E27FC236}">
                <a16:creationId xmlns:a16="http://schemas.microsoft.com/office/drawing/2014/main" id="{FBFEF2A3-D640-AED8-6DB1-6A38F4A47A29}"/>
              </a:ext>
            </a:extLst>
          </p:cNvPr>
          <p:cNvSpPr>
            <a:spLocks noGrp="1"/>
          </p:cNvSpPr>
          <p:nvPr>
            <p:ph type="sldNum" sz="quarter" idx="4"/>
          </p:nvPr>
        </p:nvSpPr>
        <p:spPr/>
        <p:txBody>
          <a:bodyPr/>
          <a:lstStyle/>
          <a:p>
            <a:r>
              <a:rPr lang="es-CL"/>
              <a:t>| </a:t>
            </a:r>
            <a:fld id="{7FD00258-9FF3-104F-B9FD-5624932679BF}" type="slidenum">
              <a:rPr lang="es-CL" smtClean="0"/>
              <a:pPr/>
              <a:t>2</a:t>
            </a:fld>
            <a:endParaRPr lang="es-CL"/>
          </a:p>
        </p:txBody>
      </p:sp>
      <p:sp>
        <p:nvSpPr>
          <p:cNvPr id="3" name="CuadroTexto 2">
            <a:extLst>
              <a:ext uri="{FF2B5EF4-FFF2-40B4-BE49-F238E27FC236}">
                <a16:creationId xmlns:a16="http://schemas.microsoft.com/office/drawing/2014/main" id="{D7E63524-DB77-6E00-2435-8EF3F011249E}"/>
              </a:ext>
            </a:extLst>
          </p:cNvPr>
          <p:cNvSpPr txBox="1"/>
          <p:nvPr/>
        </p:nvSpPr>
        <p:spPr>
          <a:xfrm>
            <a:off x="266504" y="1806961"/>
            <a:ext cx="4350131" cy="784830"/>
          </a:xfrm>
          <a:prstGeom prst="rect">
            <a:avLst/>
          </a:prstGeom>
          <a:noFill/>
        </p:spPr>
        <p:txBody>
          <a:bodyPr wrap="square" rtlCol="0">
            <a:spAutoFit/>
          </a:bodyPr>
          <a:lstStyle/>
          <a:p>
            <a:pPr>
              <a:lnSpc>
                <a:spcPts val="5400"/>
              </a:lnSpc>
            </a:pPr>
            <a:r>
              <a:rPr lang="es-CL" sz="4800" b="1" err="1">
                <a:solidFill>
                  <a:schemeClr val="tx2"/>
                </a:solidFill>
                <a:latin typeface="Poppins" pitchFamily="2" charset="77"/>
                <a:cs typeface="Poppins" pitchFamily="2" charset="77"/>
              </a:rPr>
              <a:t>Highlights</a:t>
            </a:r>
            <a:endParaRPr lang="es-CL" sz="4800" b="1">
              <a:solidFill>
                <a:schemeClr val="tx2"/>
              </a:solidFill>
              <a:latin typeface="Poppins" pitchFamily="2" charset="77"/>
              <a:cs typeface="Poppins" pitchFamily="2" charset="77"/>
            </a:endParaRPr>
          </a:p>
        </p:txBody>
      </p:sp>
      <p:sp>
        <p:nvSpPr>
          <p:cNvPr id="10" name="CuadroTexto 9">
            <a:extLst>
              <a:ext uri="{FF2B5EF4-FFF2-40B4-BE49-F238E27FC236}">
                <a16:creationId xmlns:a16="http://schemas.microsoft.com/office/drawing/2014/main" id="{C9C3012D-8832-CB74-0E3F-443565D69555}"/>
              </a:ext>
            </a:extLst>
          </p:cNvPr>
          <p:cNvSpPr txBox="1"/>
          <p:nvPr/>
        </p:nvSpPr>
        <p:spPr>
          <a:xfrm>
            <a:off x="266503" y="887479"/>
            <a:ext cx="4350131" cy="919482"/>
          </a:xfrm>
          <a:prstGeom prst="rect">
            <a:avLst/>
          </a:prstGeom>
          <a:noFill/>
        </p:spPr>
        <p:txBody>
          <a:bodyPr wrap="square" rtlCol="0">
            <a:spAutoFit/>
          </a:bodyPr>
          <a:lstStyle/>
          <a:p>
            <a:pPr>
              <a:lnSpc>
                <a:spcPts val="5400"/>
              </a:lnSpc>
            </a:pPr>
            <a:r>
              <a:rPr lang="es-CL" sz="8000" b="1">
                <a:solidFill>
                  <a:schemeClr val="accent1"/>
                </a:solidFill>
                <a:latin typeface="Poppins" pitchFamily="2" charset="77"/>
                <a:cs typeface="Poppins" pitchFamily="2" charset="77"/>
              </a:rPr>
              <a:t>01</a:t>
            </a:r>
          </a:p>
        </p:txBody>
      </p:sp>
    </p:spTree>
    <p:extLst>
      <p:ext uri="{BB962C8B-B14F-4D97-AF65-F5344CB8AC3E}">
        <p14:creationId xmlns:p14="http://schemas.microsoft.com/office/powerpoint/2010/main" val="29152550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a:extLst>
              <a:ext uri="{FF2B5EF4-FFF2-40B4-BE49-F238E27FC236}">
                <a16:creationId xmlns:a16="http://schemas.microsoft.com/office/drawing/2014/main" id="{8ED5189E-68A8-A2BB-B863-E83419A72218}"/>
              </a:ext>
            </a:extLst>
          </p:cNvPr>
          <p:cNvPicPr>
            <a:picLocks noChangeAspect="1"/>
          </p:cNvPicPr>
          <p:nvPr/>
        </p:nvPicPr>
        <p:blipFill>
          <a:blip r:embed="rId4"/>
          <a:stretch>
            <a:fillRect/>
          </a:stretch>
        </p:blipFill>
        <p:spPr>
          <a:xfrm>
            <a:off x="0" y="0"/>
            <a:ext cx="12192000" cy="6858000"/>
          </a:xfrm>
          <a:prstGeom prst="rect">
            <a:avLst/>
          </a:prstGeom>
        </p:spPr>
      </p:pic>
      <p:graphicFrame>
        <p:nvGraphicFramePr>
          <p:cNvPr id="7" name="think-cell data - do not delete" hidden="1">
            <a:extLst>
              <a:ext uri="{FF2B5EF4-FFF2-40B4-BE49-F238E27FC236}">
                <a16:creationId xmlns:a16="http://schemas.microsoft.com/office/drawing/2014/main" id="{D6671726-3BCD-F3FA-F071-A4A61FC925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95" imgH="396" progId="TCLayout.ActiveDocument.1">
                  <p:embed/>
                </p:oleObj>
              </mc:Choice>
              <mc:Fallback>
                <p:oleObj name="Diapositiva de think-cell" r:id="rId5" imgW="395" imgH="396" progId="TCLayout.ActiveDocument.1">
                  <p:embed/>
                  <p:pic>
                    <p:nvPicPr>
                      <p:cNvPr id="7" name="think-cell data - do not delete" hidden="1">
                        <a:extLst>
                          <a:ext uri="{FF2B5EF4-FFF2-40B4-BE49-F238E27FC236}">
                            <a16:creationId xmlns:a16="http://schemas.microsoft.com/office/drawing/2014/main" id="{D6671726-3BCD-F3FA-F071-A4A61FC925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CuadroTexto 1">
            <a:extLst>
              <a:ext uri="{FF2B5EF4-FFF2-40B4-BE49-F238E27FC236}">
                <a16:creationId xmlns:a16="http://schemas.microsoft.com/office/drawing/2014/main" id="{6D56D71D-671E-6663-C561-E642B90F069F}"/>
              </a:ext>
            </a:extLst>
          </p:cNvPr>
          <p:cNvSpPr txBox="1"/>
          <p:nvPr/>
        </p:nvSpPr>
        <p:spPr>
          <a:xfrm>
            <a:off x="266504" y="5112136"/>
            <a:ext cx="4829371" cy="1477328"/>
          </a:xfrm>
          <a:prstGeom prst="rect">
            <a:avLst/>
          </a:prstGeom>
          <a:noFill/>
        </p:spPr>
        <p:txBody>
          <a:bodyPr wrap="square" rtlCol="0">
            <a:spAutoFit/>
          </a:bodyPr>
          <a:lstStyle/>
          <a:p>
            <a:pPr>
              <a:lnSpc>
                <a:spcPts val="5400"/>
              </a:lnSpc>
            </a:pPr>
            <a:r>
              <a:rPr lang="es-CL" sz="4800" b="1" err="1">
                <a:solidFill>
                  <a:schemeClr val="tx2"/>
                </a:solidFill>
                <a:latin typeface="Poppins" pitchFamily="2" charset="77"/>
                <a:cs typeface="Poppins" pitchFamily="2" charset="77"/>
              </a:rPr>
              <a:t>Sustainability</a:t>
            </a:r>
            <a:endParaRPr lang="es-CL" sz="4800" b="1">
              <a:solidFill>
                <a:schemeClr val="tx2"/>
              </a:solidFill>
              <a:latin typeface="Poppins" pitchFamily="2" charset="77"/>
              <a:cs typeface="Poppins" pitchFamily="2" charset="77"/>
            </a:endParaRPr>
          </a:p>
          <a:p>
            <a:pPr>
              <a:lnSpc>
                <a:spcPts val="5400"/>
              </a:lnSpc>
            </a:pPr>
            <a:r>
              <a:rPr lang="es-CL" sz="4800" b="1" err="1">
                <a:solidFill>
                  <a:schemeClr val="tx2"/>
                </a:solidFill>
                <a:latin typeface="Poppins" pitchFamily="2" charset="77"/>
                <a:cs typeface="Poppins" pitchFamily="2" charset="77"/>
              </a:rPr>
              <a:t>Progress</a:t>
            </a:r>
            <a:endParaRPr lang="es-CL" sz="4800" b="1">
              <a:solidFill>
                <a:schemeClr val="tx2"/>
              </a:solidFill>
              <a:latin typeface="Poppins" pitchFamily="2" charset="77"/>
              <a:cs typeface="Poppins" pitchFamily="2" charset="77"/>
            </a:endParaRPr>
          </a:p>
        </p:txBody>
      </p:sp>
      <p:sp>
        <p:nvSpPr>
          <p:cNvPr id="5" name="CuadroTexto 4">
            <a:extLst>
              <a:ext uri="{FF2B5EF4-FFF2-40B4-BE49-F238E27FC236}">
                <a16:creationId xmlns:a16="http://schemas.microsoft.com/office/drawing/2014/main" id="{1D4B9704-4A69-50CC-5A71-3D982D09B3CB}"/>
              </a:ext>
            </a:extLst>
          </p:cNvPr>
          <p:cNvSpPr txBox="1"/>
          <p:nvPr/>
        </p:nvSpPr>
        <p:spPr>
          <a:xfrm>
            <a:off x="266503" y="4192654"/>
            <a:ext cx="4350131" cy="919482"/>
          </a:xfrm>
          <a:prstGeom prst="rect">
            <a:avLst/>
          </a:prstGeom>
          <a:noFill/>
        </p:spPr>
        <p:txBody>
          <a:bodyPr wrap="square" rtlCol="0">
            <a:spAutoFit/>
          </a:bodyPr>
          <a:lstStyle/>
          <a:p>
            <a:pPr>
              <a:lnSpc>
                <a:spcPts val="5400"/>
              </a:lnSpc>
            </a:pPr>
            <a:r>
              <a:rPr lang="es-CL" sz="8000" b="1">
                <a:solidFill>
                  <a:schemeClr val="accent1"/>
                </a:solidFill>
                <a:latin typeface="Poppins" pitchFamily="2" charset="77"/>
                <a:cs typeface="Poppins" pitchFamily="2" charset="77"/>
              </a:rPr>
              <a:t>03</a:t>
            </a:r>
          </a:p>
        </p:txBody>
      </p:sp>
    </p:spTree>
    <p:extLst>
      <p:ext uri="{BB962C8B-B14F-4D97-AF65-F5344CB8AC3E}">
        <p14:creationId xmlns:p14="http://schemas.microsoft.com/office/powerpoint/2010/main" val="8885170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6671726-3BCD-F3FA-F071-A4A61FC925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6" progId="TCLayout.ActiveDocument.1">
                  <p:embed/>
                </p:oleObj>
              </mc:Choice>
              <mc:Fallback>
                <p:oleObj name="Diapositiva de think-cell" r:id="rId4" imgW="395" imgH="396" progId="TCLayout.ActiveDocument.1">
                  <p:embed/>
                  <p:pic>
                    <p:nvPicPr>
                      <p:cNvPr id="7" name="think-cell data - do not delete" hidden="1">
                        <a:extLst>
                          <a:ext uri="{FF2B5EF4-FFF2-40B4-BE49-F238E27FC236}">
                            <a16:creationId xmlns:a16="http://schemas.microsoft.com/office/drawing/2014/main" id="{D6671726-3BCD-F3FA-F071-A4A61FC925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CuadroTexto 19">
            <a:extLst>
              <a:ext uri="{FF2B5EF4-FFF2-40B4-BE49-F238E27FC236}">
                <a16:creationId xmlns:a16="http://schemas.microsoft.com/office/drawing/2014/main" id="{04A01AA6-13EE-F435-C322-DB4EE87C3E97}"/>
              </a:ext>
            </a:extLst>
          </p:cNvPr>
          <p:cNvSpPr txBox="1"/>
          <p:nvPr/>
        </p:nvSpPr>
        <p:spPr>
          <a:xfrm>
            <a:off x="407980" y="3938923"/>
            <a:ext cx="6057634" cy="892552"/>
          </a:xfrm>
          <a:prstGeom prst="rect">
            <a:avLst/>
          </a:prstGeom>
          <a:noFill/>
        </p:spPr>
        <p:txBody>
          <a:bodyPr wrap="square" rtlCol="0">
            <a:spAutoFit/>
          </a:bodyPr>
          <a:lstStyle/>
          <a:p>
            <a:pPr algn="just"/>
            <a:r>
              <a:rPr lang="en-US" sz="1300">
                <a:solidFill>
                  <a:schemeClr val="tx2"/>
                </a:solidFill>
                <a:latin typeface="Poppins" pitchFamily="2" charset="77"/>
                <a:cs typeface="Poppins" pitchFamily="2" charset="77"/>
              </a:rPr>
              <a:t>On April 8 and 9, Cenco Malls participated as a platinum sponsor of the third National Meeting on Sustainability in Construction, held at Sky Costanera. The event convened key industry players to exchange best practices in sustainability applied to the construction sector.</a:t>
            </a:r>
            <a:endParaRPr lang="es-CL" sz="1300">
              <a:solidFill>
                <a:schemeClr val="tx2"/>
              </a:solidFill>
              <a:latin typeface="Poppins" pitchFamily="2" charset="77"/>
              <a:cs typeface="Poppins" pitchFamily="2" charset="77"/>
            </a:endParaRPr>
          </a:p>
        </p:txBody>
      </p:sp>
      <p:sp>
        <p:nvSpPr>
          <p:cNvPr id="22" name="Rectángulo 21">
            <a:extLst>
              <a:ext uri="{FF2B5EF4-FFF2-40B4-BE49-F238E27FC236}">
                <a16:creationId xmlns:a16="http://schemas.microsoft.com/office/drawing/2014/main" id="{75F4C804-F2B5-1C08-EE59-E207740C573A}"/>
              </a:ext>
            </a:extLst>
          </p:cNvPr>
          <p:cNvSpPr/>
          <p:nvPr/>
        </p:nvSpPr>
        <p:spPr>
          <a:xfrm>
            <a:off x="1090152" y="3354148"/>
            <a:ext cx="5400000" cy="584775"/>
          </a:xfrm>
          <a:prstGeom prst="rect">
            <a:avLst/>
          </a:prstGeom>
        </p:spPr>
        <p:txBody>
          <a:bodyPr wrap="square">
            <a:spAutoFit/>
          </a:bodyPr>
          <a:lstStyle/>
          <a:p>
            <a:r>
              <a:rPr lang="en-US" sz="1600" b="1">
                <a:solidFill>
                  <a:schemeClr val="accent1"/>
                </a:solidFill>
                <a:latin typeface="Poppins" pitchFamily="2" charset="77"/>
                <a:cs typeface="Poppins" pitchFamily="2" charset="77"/>
              </a:rPr>
              <a:t>National Meeting on Sustainability in Construction (ENASOC)</a:t>
            </a:r>
            <a:endParaRPr lang="es-CL" sz="1600" b="1" i="1">
              <a:solidFill>
                <a:schemeClr val="accent1"/>
              </a:solidFill>
              <a:latin typeface="Poppins" pitchFamily="2" charset="77"/>
              <a:cs typeface="Poppins" pitchFamily="2" charset="77"/>
            </a:endParaRPr>
          </a:p>
        </p:txBody>
      </p:sp>
      <p:sp>
        <p:nvSpPr>
          <p:cNvPr id="29" name="CuadroTexto 28">
            <a:extLst>
              <a:ext uri="{FF2B5EF4-FFF2-40B4-BE49-F238E27FC236}">
                <a16:creationId xmlns:a16="http://schemas.microsoft.com/office/drawing/2014/main" id="{1787D5C0-2941-5863-53D1-EFB9B72B089C}"/>
              </a:ext>
            </a:extLst>
          </p:cNvPr>
          <p:cNvSpPr txBox="1"/>
          <p:nvPr/>
        </p:nvSpPr>
        <p:spPr>
          <a:xfrm>
            <a:off x="409843" y="1946098"/>
            <a:ext cx="6057634" cy="892552"/>
          </a:xfrm>
          <a:prstGeom prst="rect">
            <a:avLst/>
          </a:prstGeom>
          <a:noFill/>
        </p:spPr>
        <p:txBody>
          <a:bodyPr wrap="square" rtlCol="0">
            <a:spAutoFit/>
          </a:bodyPr>
          <a:lstStyle/>
          <a:p>
            <a:pPr algn="just"/>
            <a:r>
              <a:rPr lang="en-US" sz="1300">
                <a:solidFill>
                  <a:schemeClr val="tx2"/>
                </a:solidFill>
                <a:latin typeface="Poppins" pitchFamily="2" charset="77"/>
                <a:cs typeface="Poppins" pitchFamily="2" charset="77"/>
              </a:rPr>
              <a:t>A total of 4,000 sqm of gardens with low-water-demand vegetation were developed in Zone 1 of Cenco Florida. This initiative is expected to reduce water consumption for irrigation by approximately 54%, contributing to more efficient resource management.</a:t>
            </a:r>
            <a:endParaRPr lang="es-CL" sz="1300">
              <a:solidFill>
                <a:schemeClr val="tx2"/>
              </a:solidFill>
              <a:latin typeface="Poppins" pitchFamily="2" charset="77"/>
              <a:cs typeface="Poppins" pitchFamily="2" charset="77"/>
            </a:endParaRPr>
          </a:p>
        </p:txBody>
      </p:sp>
      <p:sp>
        <p:nvSpPr>
          <p:cNvPr id="30" name="Rectángulo 29">
            <a:extLst>
              <a:ext uri="{FF2B5EF4-FFF2-40B4-BE49-F238E27FC236}">
                <a16:creationId xmlns:a16="http://schemas.microsoft.com/office/drawing/2014/main" id="{39929EB1-FDF3-AFF4-B958-16671ABA7B3E}"/>
              </a:ext>
            </a:extLst>
          </p:cNvPr>
          <p:cNvSpPr/>
          <p:nvPr/>
        </p:nvSpPr>
        <p:spPr>
          <a:xfrm>
            <a:off x="1090152" y="1371309"/>
            <a:ext cx="5400000" cy="584775"/>
          </a:xfrm>
          <a:prstGeom prst="rect">
            <a:avLst/>
          </a:prstGeom>
        </p:spPr>
        <p:txBody>
          <a:bodyPr wrap="square">
            <a:spAutoFit/>
          </a:bodyPr>
          <a:lstStyle/>
          <a:p>
            <a:r>
              <a:rPr lang="en-US" sz="1600" b="1">
                <a:solidFill>
                  <a:schemeClr val="accent1"/>
                </a:solidFill>
                <a:latin typeface="Poppins" pitchFamily="2" charset="77"/>
                <a:cs typeface="Poppins" pitchFamily="2" charset="77"/>
              </a:rPr>
              <a:t>Creation of Low-Water-Use Gardens at Cenco Florida</a:t>
            </a:r>
            <a:endParaRPr lang="es-CL" sz="1600" b="1">
              <a:solidFill>
                <a:schemeClr val="accent1"/>
              </a:solidFill>
              <a:latin typeface="Poppins" pitchFamily="2" charset="77"/>
              <a:cs typeface="Poppins" pitchFamily="2" charset="77"/>
            </a:endParaRPr>
          </a:p>
        </p:txBody>
      </p:sp>
      <p:pic>
        <p:nvPicPr>
          <p:cNvPr id="38" name="Imagen 37">
            <a:extLst>
              <a:ext uri="{FF2B5EF4-FFF2-40B4-BE49-F238E27FC236}">
                <a16:creationId xmlns:a16="http://schemas.microsoft.com/office/drawing/2014/main" id="{31EBC9F5-B501-2B9A-8607-DB78F65E5DBA}"/>
              </a:ext>
            </a:extLst>
          </p:cNvPr>
          <p:cNvPicPr>
            <a:picLocks noChangeAspect="1"/>
          </p:cNvPicPr>
          <p:nvPr/>
        </p:nvPicPr>
        <p:blipFill>
          <a:blip r:embed="rId6"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606868" y="3397979"/>
            <a:ext cx="495300" cy="438150"/>
          </a:xfrm>
          <a:prstGeom prst="rect">
            <a:avLst/>
          </a:prstGeom>
        </p:spPr>
      </p:pic>
      <p:pic>
        <p:nvPicPr>
          <p:cNvPr id="40" name="Imagen 39">
            <a:extLst>
              <a:ext uri="{FF2B5EF4-FFF2-40B4-BE49-F238E27FC236}">
                <a16:creationId xmlns:a16="http://schemas.microsoft.com/office/drawing/2014/main" id="{8C5C2C6D-0B91-CC39-06D7-AD40C1E19218}"/>
              </a:ext>
            </a:extLst>
          </p:cNvPr>
          <p:cNvPicPr>
            <a:picLocks noChangeAspect="1"/>
          </p:cNvPicPr>
          <p:nvPr/>
        </p:nvPicPr>
        <p:blipFill>
          <a:blip r:embed="rId7"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720994" y="1431005"/>
            <a:ext cx="277900" cy="425814"/>
          </a:xfrm>
          <a:prstGeom prst="rect">
            <a:avLst/>
          </a:prstGeom>
        </p:spPr>
      </p:pic>
      <p:pic>
        <p:nvPicPr>
          <p:cNvPr id="41" name="Imagen 40">
            <a:extLst>
              <a:ext uri="{FF2B5EF4-FFF2-40B4-BE49-F238E27FC236}">
                <a16:creationId xmlns:a16="http://schemas.microsoft.com/office/drawing/2014/main" id="{51037D9E-B405-5C7B-FEFC-7B090672230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l="21930" t="8174" r="27045" b="21234"/>
          <a:stretch/>
        </p:blipFill>
        <p:spPr>
          <a:xfrm rot="10800000">
            <a:off x="7339212" y="2469930"/>
            <a:ext cx="4852787" cy="4388068"/>
          </a:xfrm>
          <a:prstGeom prst="rect">
            <a:avLst/>
          </a:prstGeom>
        </p:spPr>
      </p:pic>
      <p:pic>
        <p:nvPicPr>
          <p:cNvPr id="9" name="Imagen 8">
            <a:extLst>
              <a:ext uri="{FF2B5EF4-FFF2-40B4-BE49-F238E27FC236}">
                <a16:creationId xmlns:a16="http://schemas.microsoft.com/office/drawing/2014/main" id="{8D25F49D-0825-03F5-C789-AFF93035F347}"/>
              </a:ext>
            </a:extLst>
          </p:cNvPr>
          <p:cNvPicPr>
            <a:picLocks noChangeAspect="1"/>
          </p:cNvPicPr>
          <p:nvPr/>
        </p:nvPicPr>
        <p:blipFill>
          <a:blip r:embed="rId9" cstate="screen">
            <a:extLst>
              <a:ext uri="{28A0092B-C50C-407E-A947-70E740481C1C}">
                <a14:useLocalDpi xmlns:a14="http://schemas.microsoft.com/office/drawing/2010/main"/>
              </a:ext>
            </a:extLst>
          </a:blip>
          <a:srcRect l="35724"/>
          <a:stretch/>
        </p:blipFill>
        <p:spPr>
          <a:xfrm>
            <a:off x="6942257" y="1238367"/>
            <a:ext cx="4361917" cy="5088271"/>
          </a:xfrm>
          <a:prstGeom prst="roundRect">
            <a:avLst>
              <a:gd name="adj" fmla="val 8956"/>
            </a:avLst>
          </a:prstGeom>
        </p:spPr>
      </p:pic>
      <p:sp>
        <p:nvSpPr>
          <p:cNvPr id="2" name="CuadroTexto 1">
            <a:extLst>
              <a:ext uri="{FF2B5EF4-FFF2-40B4-BE49-F238E27FC236}">
                <a16:creationId xmlns:a16="http://schemas.microsoft.com/office/drawing/2014/main" id="{76291784-9BBB-13F1-13E5-F39696589623}"/>
              </a:ext>
            </a:extLst>
          </p:cNvPr>
          <p:cNvSpPr txBox="1"/>
          <p:nvPr/>
        </p:nvSpPr>
        <p:spPr>
          <a:xfrm>
            <a:off x="491796" y="207049"/>
            <a:ext cx="6466866" cy="523220"/>
          </a:xfrm>
          <a:prstGeom prst="rect">
            <a:avLst/>
          </a:prstGeom>
          <a:noFill/>
        </p:spPr>
        <p:txBody>
          <a:bodyPr wrap="square" rtlCol="0">
            <a:spAutoFit/>
          </a:bodyPr>
          <a:lstStyle/>
          <a:p>
            <a:r>
              <a:rPr lang="es-CL" sz="2800" b="1">
                <a:solidFill>
                  <a:schemeClr val="accent3"/>
                </a:solidFill>
                <a:latin typeface="Poppins" pitchFamily="2" charset="77"/>
                <a:cs typeface="Poppins" pitchFamily="2" charset="77"/>
              </a:rPr>
              <a:t>3.1</a:t>
            </a:r>
            <a:r>
              <a:rPr lang="es-CL" sz="2800" b="1">
                <a:solidFill>
                  <a:schemeClr val="tx2"/>
                </a:solidFill>
                <a:latin typeface="Poppins" pitchFamily="2" charset="77"/>
                <a:cs typeface="Poppins" pitchFamily="2" charset="77"/>
              </a:rPr>
              <a:t> </a:t>
            </a:r>
            <a:r>
              <a:rPr lang="es-CL" sz="2800" b="1" err="1">
                <a:solidFill>
                  <a:schemeClr val="tx2"/>
                </a:solidFill>
                <a:latin typeface="Poppins" pitchFamily="2" charset="77"/>
                <a:cs typeface="Poppins" pitchFamily="2" charset="77"/>
              </a:rPr>
              <a:t>Sustainability</a:t>
            </a:r>
            <a:r>
              <a:rPr lang="es-CL" sz="2800" b="1">
                <a:solidFill>
                  <a:schemeClr val="tx2"/>
                </a:solidFill>
                <a:latin typeface="Poppins" pitchFamily="2" charset="77"/>
                <a:cs typeface="Poppins" pitchFamily="2" charset="77"/>
              </a:rPr>
              <a:t> </a:t>
            </a:r>
            <a:r>
              <a:rPr lang="es-CL" sz="2800" b="1" err="1">
                <a:solidFill>
                  <a:schemeClr val="tx2"/>
                </a:solidFill>
                <a:latin typeface="Poppins" pitchFamily="2" charset="77"/>
                <a:cs typeface="Poppins" pitchFamily="2" charset="77"/>
              </a:rPr>
              <a:t>Progress</a:t>
            </a:r>
            <a:endParaRPr lang="es-CL" sz="2800" b="1">
              <a:solidFill>
                <a:schemeClr val="tx2"/>
              </a:solidFill>
              <a:latin typeface="Poppins" pitchFamily="2" charset="77"/>
              <a:cs typeface="Poppins" pitchFamily="2" charset="77"/>
            </a:endParaRPr>
          </a:p>
        </p:txBody>
      </p:sp>
      <p:sp>
        <p:nvSpPr>
          <p:cNvPr id="4" name="Marcador de número de diapositiva 1">
            <a:extLst>
              <a:ext uri="{FF2B5EF4-FFF2-40B4-BE49-F238E27FC236}">
                <a16:creationId xmlns:a16="http://schemas.microsoft.com/office/drawing/2014/main" id="{8A50C0C0-40B4-C191-27CF-1D860A553DFC}"/>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21</a:t>
            </a:fld>
            <a:endParaRPr lang="es-CL"/>
          </a:p>
        </p:txBody>
      </p:sp>
      <p:sp>
        <p:nvSpPr>
          <p:cNvPr id="3" name="Título 1">
            <a:extLst>
              <a:ext uri="{FF2B5EF4-FFF2-40B4-BE49-F238E27FC236}">
                <a16:creationId xmlns:a16="http://schemas.microsoft.com/office/drawing/2014/main" id="{34638099-4EE2-9F82-3C07-492DC6D90F49}"/>
              </a:ext>
            </a:extLst>
          </p:cNvPr>
          <p:cNvSpPr txBox="1">
            <a:spLocks/>
          </p:cNvSpPr>
          <p:nvPr/>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bg1"/>
                </a:solidFill>
                <a:latin typeface="Poppins" pitchFamily="2" charset="77"/>
                <a:cs typeface="Poppins" pitchFamily="2" charset="77"/>
              </a:rPr>
              <a:t>Earning</a:t>
            </a:r>
            <a:r>
              <a:rPr lang="es-MX" sz="800" b="1">
                <a:solidFill>
                  <a:schemeClr val="bg1"/>
                </a:solidFill>
                <a:latin typeface="Poppins" pitchFamily="2" charset="77"/>
                <a:cs typeface="Poppins" pitchFamily="2" charset="77"/>
              </a:rPr>
              <a:t> </a:t>
            </a:r>
            <a:r>
              <a:rPr lang="es-MX" sz="800" b="1" err="1">
                <a:solidFill>
                  <a:schemeClr val="bg1"/>
                </a:solidFill>
                <a:latin typeface="Poppins" pitchFamily="2" charset="77"/>
                <a:cs typeface="Poppins" pitchFamily="2" charset="77"/>
              </a:rPr>
              <a:t>Presentation</a:t>
            </a:r>
            <a:r>
              <a:rPr lang="es-MX" sz="800" b="0">
                <a:solidFill>
                  <a:schemeClr val="bg1"/>
                </a:solidFill>
                <a:latin typeface="Poppins" pitchFamily="2" charset="77"/>
                <a:cs typeface="Poppins" pitchFamily="2" charset="77"/>
              </a:rPr>
              <a:t>– </a:t>
            </a:r>
            <a:r>
              <a:rPr lang="es-MX" sz="800" b="0" err="1">
                <a:solidFill>
                  <a:schemeClr val="bg1"/>
                </a:solidFill>
                <a:latin typeface="Poppins" pitchFamily="2" charset="77"/>
                <a:cs typeface="Poppins" pitchFamily="2" charset="77"/>
              </a:rPr>
              <a:t>First</a:t>
            </a:r>
            <a:r>
              <a:rPr lang="es-MX" sz="800" b="0">
                <a:solidFill>
                  <a:schemeClr val="bg1"/>
                </a:solidFill>
                <a:latin typeface="Poppins" pitchFamily="2" charset="77"/>
                <a:cs typeface="Poppins" pitchFamily="2" charset="77"/>
              </a:rPr>
              <a:t> </a:t>
            </a:r>
            <a:r>
              <a:rPr lang="es-MX" sz="800" b="0" err="1">
                <a:solidFill>
                  <a:schemeClr val="bg1"/>
                </a:solidFill>
                <a:latin typeface="Poppins" pitchFamily="2" charset="77"/>
                <a:cs typeface="Poppins" pitchFamily="2" charset="77"/>
              </a:rPr>
              <a:t>Quarter</a:t>
            </a:r>
            <a:r>
              <a:rPr lang="es-MX" sz="800" b="0">
                <a:solidFill>
                  <a:schemeClr val="bg1"/>
                </a:solidFill>
                <a:latin typeface="Poppins" pitchFamily="2" charset="77"/>
                <a:cs typeface="Poppins" pitchFamily="2" charset="77"/>
              </a:rPr>
              <a:t> 2025</a:t>
            </a:r>
            <a:endParaRPr lang="es-CL" sz="800" b="0">
              <a:solidFill>
                <a:schemeClr val="bg1"/>
              </a:solidFill>
              <a:latin typeface="Poppins" pitchFamily="2" charset="77"/>
              <a:cs typeface="Poppins" pitchFamily="2" charset="77"/>
            </a:endParaRPr>
          </a:p>
        </p:txBody>
      </p:sp>
    </p:spTree>
    <p:extLst>
      <p:ext uri="{BB962C8B-B14F-4D97-AF65-F5344CB8AC3E}">
        <p14:creationId xmlns:p14="http://schemas.microsoft.com/office/powerpoint/2010/main" val="15105934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734D86-9C09-5F57-5CD2-F0B0E2A304E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8E054ED-5CB2-5A84-F2E8-A152696FE8F4}"/>
              </a:ext>
            </a:extLst>
          </p:cNvPr>
          <p:cNvGraphicFramePr>
            <a:graphicFrameLocks noChangeAspect="1"/>
          </p:cNvGraphicFramePr>
          <p:nvPr>
            <p:custDataLst>
              <p:tags r:id="rId1"/>
            </p:custDataLst>
            <p:extLst>
              <p:ext uri="{D42A27DB-BD31-4B8C-83A1-F6EECF244321}">
                <p14:modId xmlns:p14="http://schemas.microsoft.com/office/powerpoint/2010/main" val="3379523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6" progId="TCLayout.ActiveDocument.1">
                  <p:embed/>
                </p:oleObj>
              </mc:Choice>
              <mc:Fallback>
                <p:oleObj name="Diapositiva de think-cell" r:id="rId4" imgW="395" imgH="396" progId="TCLayout.ActiveDocument.1">
                  <p:embed/>
                  <p:pic>
                    <p:nvPicPr>
                      <p:cNvPr id="7" name="think-cell data - do not delete" hidden="1">
                        <a:extLst>
                          <a:ext uri="{FF2B5EF4-FFF2-40B4-BE49-F238E27FC236}">
                            <a16:creationId xmlns:a16="http://schemas.microsoft.com/office/drawing/2014/main" id="{18E054ED-5CB2-5A84-F2E8-A152696FE8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dondear rectángulo de una esquina 4">
            <a:extLst>
              <a:ext uri="{FF2B5EF4-FFF2-40B4-BE49-F238E27FC236}">
                <a16:creationId xmlns:a16="http://schemas.microsoft.com/office/drawing/2014/main" id="{002FF20A-419D-4829-37B3-9C6FBAA6E257}"/>
              </a:ext>
            </a:extLst>
          </p:cNvPr>
          <p:cNvSpPr/>
          <p:nvPr/>
        </p:nvSpPr>
        <p:spPr>
          <a:xfrm flipH="1">
            <a:off x="0" y="5106080"/>
            <a:ext cx="12192000" cy="1765300"/>
          </a:xfrm>
          <a:prstGeom prst="round1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0" name="CuadroTexto 19">
            <a:extLst>
              <a:ext uri="{FF2B5EF4-FFF2-40B4-BE49-F238E27FC236}">
                <a16:creationId xmlns:a16="http://schemas.microsoft.com/office/drawing/2014/main" id="{BF34563F-5AD5-1187-C47E-6CA2B70B5C3E}"/>
              </a:ext>
            </a:extLst>
          </p:cNvPr>
          <p:cNvSpPr txBox="1"/>
          <p:nvPr/>
        </p:nvSpPr>
        <p:spPr>
          <a:xfrm>
            <a:off x="427628" y="3762457"/>
            <a:ext cx="6057634" cy="1092607"/>
          </a:xfrm>
          <a:prstGeom prst="rect">
            <a:avLst/>
          </a:prstGeom>
          <a:noFill/>
        </p:spPr>
        <p:txBody>
          <a:bodyPr wrap="square" rtlCol="0">
            <a:spAutoFit/>
          </a:bodyPr>
          <a:lstStyle/>
          <a:p>
            <a:pPr algn="just"/>
            <a:r>
              <a:rPr lang="en-US" sz="1300">
                <a:solidFill>
                  <a:schemeClr val="tx2"/>
                </a:solidFill>
                <a:latin typeface="Poppins" pitchFamily="2" charset="77"/>
                <a:cs typeface="Poppins" pitchFamily="2" charset="77"/>
              </a:rPr>
              <a:t>A dialogue session was held with the Municipality of Barranquilla, Colombia, to coordinate actions related to safety, community coexistence, and urban development near the shopping center. This initiative strengthens ties with the local community and reinforces Company’s commitment to the urban environment.</a:t>
            </a:r>
            <a:endParaRPr lang="es-CL" sz="1300">
              <a:solidFill>
                <a:schemeClr val="tx2"/>
              </a:solidFill>
              <a:latin typeface="Poppins" pitchFamily="2" charset="77"/>
              <a:cs typeface="Poppins" pitchFamily="2" charset="77"/>
            </a:endParaRPr>
          </a:p>
        </p:txBody>
      </p:sp>
      <p:sp>
        <p:nvSpPr>
          <p:cNvPr id="22" name="Rectángulo 21">
            <a:extLst>
              <a:ext uri="{FF2B5EF4-FFF2-40B4-BE49-F238E27FC236}">
                <a16:creationId xmlns:a16="http://schemas.microsoft.com/office/drawing/2014/main" id="{AE9334BA-00B5-A732-A019-0C506D25302D}"/>
              </a:ext>
            </a:extLst>
          </p:cNvPr>
          <p:cNvSpPr/>
          <p:nvPr/>
        </p:nvSpPr>
        <p:spPr>
          <a:xfrm>
            <a:off x="1109800" y="3177682"/>
            <a:ext cx="5400000" cy="584775"/>
          </a:xfrm>
          <a:prstGeom prst="rect">
            <a:avLst/>
          </a:prstGeom>
        </p:spPr>
        <p:txBody>
          <a:bodyPr wrap="square">
            <a:spAutoFit/>
          </a:bodyPr>
          <a:lstStyle/>
          <a:p>
            <a:r>
              <a:rPr lang="en-US" sz="1600" b="1">
                <a:solidFill>
                  <a:schemeClr val="accent1"/>
                </a:solidFill>
                <a:latin typeface="Poppins" pitchFamily="2" charset="77"/>
                <a:cs typeface="Poppins" pitchFamily="2" charset="77"/>
              </a:rPr>
              <a:t>Collaborative Work on Safety and Community Relations at Cenco Altos del Prado</a:t>
            </a:r>
            <a:endParaRPr lang="es-CL" sz="1600" b="1" i="1">
              <a:solidFill>
                <a:schemeClr val="accent1"/>
              </a:solidFill>
              <a:latin typeface="Poppins" pitchFamily="2" charset="77"/>
              <a:cs typeface="Poppins" pitchFamily="2" charset="77"/>
            </a:endParaRPr>
          </a:p>
        </p:txBody>
      </p:sp>
      <p:sp>
        <p:nvSpPr>
          <p:cNvPr id="29" name="CuadroTexto 28">
            <a:extLst>
              <a:ext uri="{FF2B5EF4-FFF2-40B4-BE49-F238E27FC236}">
                <a16:creationId xmlns:a16="http://schemas.microsoft.com/office/drawing/2014/main" id="{3FA406D3-E623-7A56-F8CE-AF7B79BAE6AF}"/>
              </a:ext>
            </a:extLst>
          </p:cNvPr>
          <p:cNvSpPr txBox="1"/>
          <p:nvPr/>
        </p:nvSpPr>
        <p:spPr>
          <a:xfrm>
            <a:off x="429491" y="1914010"/>
            <a:ext cx="6057634" cy="892552"/>
          </a:xfrm>
          <a:prstGeom prst="rect">
            <a:avLst/>
          </a:prstGeom>
          <a:noFill/>
        </p:spPr>
        <p:txBody>
          <a:bodyPr wrap="square" rtlCol="0">
            <a:spAutoFit/>
          </a:bodyPr>
          <a:lstStyle/>
          <a:p>
            <a:pPr algn="just"/>
            <a:r>
              <a:rPr lang="en-US" sz="1300">
                <a:solidFill>
                  <a:schemeClr val="tx2"/>
                </a:solidFill>
                <a:latin typeface="Poppins" pitchFamily="2" charset="77"/>
                <a:cs typeface="Poppins" pitchFamily="2" charset="77"/>
              </a:rPr>
              <a:t>Cenco Malls hosted the opening day of Green Building Week 2025, organized by the Chile Green Building Council. Held on the 45</a:t>
            </a:r>
            <a:r>
              <a:rPr lang="en-US" sz="1300" baseline="30000">
                <a:solidFill>
                  <a:schemeClr val="tx2"/>
                </a:solidFill>
                <a:latin typeface="Poppins" pitchFamily="2" charset="77"/>
                <a:cs typeface="Poppins" pitchFamily="2" charset="77"/>
              </a:rPr>
              <a:t>th</a:t>
            </a:r>
            <a:r>
              <a:rPr lang="en-US" sz="1300">
                <a:solidFill>
                  <a:schemeClr val="tx2"/>
                </a:solidFill>
                <a:latin typeface="Poppins" pitchFamily="2" charset="77"/>
                <a:cs typeface="Poppins" pitchFamily="2" charset="77"/>
              </a:rPr>
              <a:t> floor of Office HUB Costanera, the event showcased the building’s sustainable initiatives </a:t>
            </a:r>
            <a:endParaRPr lang="es-CL" sz="1300">
              <a:solidFill>
                <a:schemeClr val="tx2"/>
              </a:solidFill>
              <a:latin typeface="Poppins" pitchFamily="2" charset="77"/>
              <a:cs typeface="Poppins" pitchFamily="2" charset="77"/>
            </a:endParaRPr>
          </a:p>
        </p:txBody>
      </p:sp>
      <p:sp>
        <p:nvSpPr>
          <p:cNvPr id="30" name="Rectángulo 29">
            <a:extLst>
              <a:ext uri="{FF2B5EF4-FFF2-40B4-BE49-F238E27FC236}">
                <a16:creationId xmlns:a16="http://schemas.microsoft.com/office/drawing/2014/main" id="{C2B5F1BB-EED3-4AA1-15F2-03D78E70B5CC}"/>
              </a:ext>
            </a:extLst>
          </p:cNvPr>
          <p:cNvSpPr/>
          <p:nvPr/>
        </p:nvSpPr>
        <p:spPr>
          <a:xfrm>
            <a:off x="1109800" y="1339221"/>
            <a:ext cx="5400000" cy="584775"/>
          </a:xfrm>
          <a:prstGeom prst="rect">
            <a:avLst/>
          </a:prstGeom>
        </p:spPr>
        <p:txBody>
          <a:bodyPr wrap="square">
            <a:spAutoFit/>
          </a:bodyPr>
          <a:lstStyle/>
          <a:p>
            <a:r>
              <a:rPr lang="en-US" sz="1600" b="1">
                <a:solidFill>
                  <a:schemeClr val="accent1"/>
                </a:solidFill>
                <a:latin typeface="Poppins" pitchFamily="2" charset="77"/>
                <a:cs typeface="Poppins" pitchFamily="2" charset="77"/>
              </a:rPr>
              <a:t>Participation in Green Building Week from Office HUB Costanera</a:t>
            </a:r>
            <a:endParaRPr lang="es-CL" sz="1600" b="1">
              <a:solidFill>
                <a:schemeClr val="accent1"/>
              </a:solidFill>
              <a:latin typeface="Poppins" pitchFamily="2" charset="77"/>
              <a:cs typeface="Poppins" pitchFamily="2" charset="77"/>
            </a:endParaRPr>
          </a:p>
        </p:txBody>
      </p:sp>
      <p:pic>
        <p:nvPicPr>
          <p:cNvPr id="38" name="Imagen 37">
            <a:extLst>
              <a:ext uri="{FF2B5EF4-FFF2-40B4-BE49-F238E27FC236}">
                <a16:creationId xmlns:a16="http://schemas.microsoft.com/office/drawing/2014/main" id="{2D22013C-9B4C-C0C5-4D8A-CF73B59DEE43}"/>
              </a:ext>
            </a:extLst>
          </p:cNvPr>
          <p:cNvPicPr>
            <a:picLocks noChangeAspect="1"/>
          </p:cNvPicPr>
          <p:nvPr/>
        </p:nvPicPr>
        <p:blipFill>
          <a:blip r:embed="rId6"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626516" y="3221513"/>
            <a:ext cx="495300" cy="438150"/>
          </a:xfrm>
          <a:prstGeom prst="rect">
            <a:avLst/>
          </a:prstGeom>
        </p:spPr>
      </p:pic>
      <p:pic>
        <p:nvPicPr>
          <p:cNvPr id="40" name="Imagen 39">
            <a:extLst>
              <a:ext uri="{FF2B5EF4-FFF2-40B4-BE49-F238E27FC236}">
                <a16:creationId xmlns:a16="http://schemas.microsoft.com/office/drawing/2014/main" id="{EF0E503D-E73C-2BF9-7A4C-1F253CA379A1}"/>
              </a:ext>
            </a:extLst>
          </p:cNvPr>
          <p:cNvPicPr>
            <a:picLocks noChangeAspect="1"/>
          </p:cNvPicPr>
          <p:nvPr/>
        </p:nvPicPr>
        <p:blipFill>
          <a:blip r:embed="rId7"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740642" y="1398917"/>
            <a:ext cx="277900" cy="425814"/>
          </a:xfrm>
          <a:prstGeom prst="rect">
            <a:avLst/>
          </a:prstGeom>
        </p:spPr>
      </p:pic>
      <p:sp>
        <p:nvSpPr>
          <p:cNvPr id="2" name="CuadroTexto 1">
            <a:extLst>
              <a:ext uri="{FF2B5EF4-FFF2-40B4-BE49-F238E27FC236}">
                <a16:creationId xmlns:a16="http://schemas.microsoft.com/office/drawing/2014/main" id="{3A7EFEBB-7FB7-C3E8-9209-0A20864DE99F}"/>
              </a:ext>
            </a:extLst>
          </p:cNvPr>
          <p:cNvSpPr txBox="1"/>
          <p:nvPr/>
        </p:nvSpPr>
        <p:spPr>
          <a:xfrm>
            <a:off x="491796" y="207049"/>
            <a:ext cx="6466866" cy="523220"/>
          </a:xfrm>
          <a:prstGeom prst="rect">
            <a:avLst/>
          </a:prstGeom>
          <a:noFill/>
        </p:spPr>
        <p:txBody>
          <a:bodyPr wrap="square" rtlCol="0">
            <a:spAutoFit/>
          </a:bodyPr>
          <a:lstStyle/>
          <a:p>
            <a:r>
              <a:rPr lang="es-CL" sz="2800" b="1">
                <a:solidFill>
                  <a:schemeClr val="accent3"/>
                </a:solidFill>
                <a:latin typeface="Poppins" pitchFamily="2" charset="77"/>
                <a:cs typeface="Poppins" pitchFamily="2" charset="77"/>
              </a:rPr>
              <a:t>3.2</a:t>
            </a:r>
            <a:r>
              <a:rPr lang="es-CL" sz="2800" b="1">
                <a:solidFill>
                  <a:schemeClr val="tx2"/>
                </a:solidFill>
                <a:latin typeface="Poppins" pitchFamily="2" charset="77"/>
                <a:cs typeface="Poppins" pitchFamily="2" charset="77"/>
              </a:rPr>
              <a:t> </a:t>
            </a:r>
            <a:r>
              <a:rPr lang="es-CL" sz="2800" b="1" err="1">
                <a:solidFill>
                  <a:schemeClr val="tx2"/>
                </a:solidFill>
                <a:latin typeface="Poppins" pitchFamily="2" charset="77"/>
                <a:cs typeface="Poppins" pitchFamily="2" charset="77"/>
              </a:rPr>
              <a:t>Sustainability</a:t>
            </a:r>
            <a:r>
              <a:rPr lang="es-CL" sz="2800" b="1">
                <a:solidFill>
                  <a:schemeClr val="tx2"/>
                </a:solidFill>
                <a:latin typeface="Poppins" pitchFamily="2" charset="77"/>
                <a:cs typeface="Poppins" pitchFamily="2" charset="77"/>
              </a:rPr>
              <a:t> </a:t>
            </a:r>
            <a:r>
              <a:rPr lang="es-CL" sz="2800" b="1" err="1">
                <a:solidFill>
                  <a:schemeClr val="tx2"/>
                </a:solidFill>
                <a:latin typeface="Poppins" pitchFamily="2" charset="77"/>
                <a:cs typeface="Poppins" pitchFamily="2" charset="77"/>
              </a:rPr>
              <a:t>Progress</a:t>
            </a:r>
            <a:endParaRPr lang="es-CL" sz="2800" b="1">
              <a:solidFill>
                <a:schemeClr val="tx2"/>
              </a:solidFill>
              <a:latin typeface="Poppins" pitchFamily="2" charset="77"/>
              <a:cs typeface="Poppins" pitchFamily="2" charset="77"/>
            </a:endParaRPr>
          </a:p>
        </p:txBody>
      </p:sp>
      <p:pic>
        <p:nvPicPr>
          <p:cNvPr id="6" name="Imagen 5">
            <a:extLst>
              <a:ext uri="{FF2B5EF4-FFF2-40B4-BE49-F238E27FC236}">
                <a16:creationId xmlns:a16="http://schemas.microsoft.com/office/drawing/2014/main" id="{7350CC20-C5F2-88EB-793B-863E0240A704}"/>
              </a:ext>
            </a:extLst>
          </p:cNvPr>
          <p:cNvPicPr>
            <a:picLocks noChangeAspect="1"/>
          </p:cNvPicPr>
          <p:nvPr/>
        </p:nvPicPr>
        <p:blipFill>
          <a:blip r:embed="rId8" cstate="screen">
            <a:extLst>
              <a:ext uri="{28A0092B-C50C-407E-A947-70E740481C1C}">
                <a14:useLocalDpi xmlns:a14="http://schemas.microsoft.com/office/drawing/2010/main"/>
              </a:ext>
            </a:extLst>
          </a:blip>
          <a:srcRect l="30338" r="4051"/>
          <a:stretch/>
        </p:blipFill>
        <p:spPr>
          <a:xfrm>
            <a:off x="6815537" y="1260388"/>
            <a:ext cx="4727433" cy="4798550"/>
          </a:xfrm>
          <a:prstGeom prst="roundRect">
            <a:avLst>
              <a:gd name="adj" fmla="val 4633"/>
            </a:avLst>
          </a:prstGeom>
        </p:spPr>
      </p:pic>
      <p:sp>
        <p:nvSpPr>
          <p:cNvPr id="3" name="Marcador de número de diapositiva 1">
            <a:extLst>
              <a:ext uri="{FF2B5EF4-FFF2-40B4-BE49-F238E27FC236}">
                <a16:creationId xmlns:a16="http://schemas.microsoft.com/office/drawing/2014/main" id="{AE385DFE-01EB-2AA5-1478-32C7930839CD}"/>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22</a:t>
            </a:fld>
            <a:endParaRPr lang="es-CL"/>
          </a:p>
        </p:txBody>
      </p:sp>
      <p:sp>
        <p:nvSpPr>
          <p:cNvPr id="4" name="Título 1">
            <a:extLst>
              <a:ext uri="{FF2B5EF4-FFF2-40B4-BE49-F238E27FC236}">
                <a16:creationId xmlns:a16="http://schemas.microsoft.com/office/drawing/2014/main" id="{B5346584-1BDB-204A-C9B9-7312B2681D7F}"/>
              </a:ext>
            </a:extLst>
          </p:cNvPr>
          <p:cNvSpPr txBox="1">
            <a:spLocks/>
          </p:cNvSpPr>
          <p:nvPr/>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tx2"/>
                </a:solidFill>
                <a:latin typeface="Poppins" pitchFamily="2" charset="77"/>
                <a:cs typeface="Poppins" pitchFamily="2" charset="77"/>
              </a:rPr>
              <a:t>Earning</a:t>
            </a:r>
            <a:r>
              <a:rPr lang="es-MX" sz="800" b="1">
                <a:solidFill>
                  <a:schemeClr val="tx2"/>
                </a:solidFill>
                <a:latin typeface="Poppins" pitchFamily="2" charset="77"/>
                <a:cs typeface="Poppins" pitchFamily="2" charset="77"/>
              </a:rPr>
              <a:t> </a:t>
            </a:r>
            <a:r>
              <a:rPr lang="es-MX" sz="800" b="1" err="1">
                <a:solidFill>
                  <a:schemeClr val="tx2"/>
                </a:solidFill>
                <a:latin typeface="Poppins" pitchFamily="2" charset="77"/>
                <a:cs typeface="Poppins" pitchFamily="2" charset="77"/>
              </a:rPr>
              <a:t>Presentation</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First</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Quarter</a:t>
            </a:r>
            <a:r>
              <a:rPr lang="es-MX" sz="800" b="0">
                <a:solidFill>
                  <a:schemeClr val="tx2"/>
                </a:solidFill>
                <a:latin typeface="Poppins" pitchFamily="2" charset="77"/>
                <a:cs typeface="Poppins" pitchFamily="2" charset="77"/>
              </a:rPr>
              <a:t> 2025</a:t>
            </a:r>
            <a:endParaRPr lang="es-CL" sz="800" b="0">
              <a:solidFill>
                <a:schemeClr val="tx2"/>
              </a:solidFill>
              <a:latin typeface="Poppins" pitchFamily="2" charset="77"/>
              <a:cs typeface="Poppins" pitchFamily="2" charset="77"/>
            </a:endParaRPr>
          </a:p>
        </p:txBody>
      </p:sp>
    </p:spTree>
    <p:extLst>
      <p:ext uri="{BB962C8B-B14F-4D97-AF65-F5344CB8AC3E}">
        <p14:creationId xmlns:p14="http://schemas.microsoft.com/office/powerpoint/2010/main" val="557020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750123-DB85-4C46-2B22-D53B3059B4F2}"/>
            </a:ext>
          </a:extLst>
        </p:cNvPr>
        <p:cNvGrpSpPr/>
        <p:nvPr/>
      </p:nvGrpSpPr>
      <p:grpSpPr>
        <a:xfrm>
          <a:off x="0" y="0"/>
          <a:ext cx="0" cy="0"/>
          <a:chOff x="0" y="0"/>
          <a:chExt cx="0" cy="0"/>
        </a:xfrm>
      </p:grpSpPr>
      <p:pic>
        <p:nvPicPr>
          <p:cNvPr id="5" name="Imagen 4">
            <a:extLst>
              <a:ext uri="{FF2B5EF4-FFF2-40B4-BE49-F238E27FC236}">
                <a16:creationId xmlns:a16="http://schemas.microsoft.com/office/drawing/2014/main" id="{0A59FD70-27A9-7D18-C090-7B593E4313B9}"/>
              </a:ext>
            </a:extLst>
          </p:cNvPr>
          <p:cNvPicPr>
            <a:picLocks noChangeAspect="1"/>
          </p:cNvPicPr>
          <p:nvPr/>
        </p:nvPicPr>
        <p:blipFill>
          <a:blip r:embed="rId4"/>
          <a:srcRect b="76951"/>
          <a:stretch/>
        </p:blipFill>
        <p:spPr>
          <a:xfrm>
            <a:off x="-3826" y="5026661"/>
            <a:ext cx="12195826" cy="1831338"/>
          </a:xfrm>
          <a:prstGeom prst="rect">
            <a:avLst/>
          </a:prstGeom>
        </p:spPr>
      </p:pic>
      <p:pic>
        <p:nvPicPr>
          <p:cNvPr id="34" name="Imagen 33">
            <a:extLst>
              <a:ext uri="{FF2B5EF4-FFF2-40B4-BE49-F238E27FC236}">
                <a16:creationId xmlns:a16="http://schemas.microsoft.com/office/drawing/2014/main" id="{DBDFE82C-0703-236B-92CD-CFE7C07E68A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31360" t="5925"/>
          <a:stretch/>
        </p:blipFill>
        <p:spPr>
          <a:xfrm>
            <a:off x="1" y="1"/>
            <a:ext cx="2194074" cy="1965434"/>
          </a:xfrm>
          <a:prstGeom prst="rect">
            <a:avLst/>
          </a:prstGeom>
        </p:spPr>
      </p:pic>
      <p:graphicFrame>
        <p:nvGraphicFramePr>
          <p:cNvPr id="7" name="think-cell data - do not delete" hidden="1">
            <a:extLst>
              <a:ext uri="{FF2B5EF4-FFF2-40B4-BE49-F238E27FC236}">
                <a16:creationId xmlns:a16="http://schemas.microsoft.com/office/drawing/2014/main" id="{B2C860F1-38AE-16ED-A0A5-4D876225D9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95" imgH="396" progId="TCLayout.ActiveDocument.1">
                  <p:embed/>
                </p:oleObj>
              </mc:Choice>
              <mc:Fallback>
                <p:oleObj name="Diapositiva de think-cell" r:id="rId6" imgW="395" imgH="396" progId="TCLayout.ActiveDocument.1">
                  <p:embed/>
                  <p:pic>
                    <p:nvPicPr>
                      <p:cNvPr id="7" name="think-cell data - do not delete" hidden="1">
                        <a:extLst>
                          <a:ext uri="{FF2B5EF4-FFF2-40B4-BE49-F238E27FC236}">
                            <a16:creationId xmlns:a16="http://schemas.microsoft.com/office/drawing/2014/main" id="{B2C860F1-38AE-16ED-A0A5-4D876225D9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CuadroTexto 1">
            <a:extLst>
              <a:ext uri="{FF2B5EF4-FFF2-40B4-BE49-F238E27FC236}">
                <a16:creationId xmlns:a16="http://schemas.microsoft.com/office/drawing/2014/main" id="{00E88B18-6198-ABD4-8D2E-D95620D8DA8B}"/>
              </a:ext>
            </a:extLst>
          </p:cNvPr>
          <p:cNvSpPr txBox="1"/>
          <p:nvPr/>
        </p:nvSpPr>
        <p:spPr>
          <a:xfrm>
            <a:off x="931995" y="1140754"/>
            <a:ext cx="7761607" cy="553998"/>
          </a:xfrm>
          <a:prstGeom prst="rect">
            <a:avLst/>
          </a:prstGeom>
          <a:noFill/>
        </p:spPr>
        <p:txBody>
          <a:bodyPr wrap="square" rtlCol="0">
            <a:spAutoFit/>
          </a:bodyPr>
          <a:lstStyle/>
          <a:p>
            <a:r>
              <a:rPr lang="es-CL" sz="3000" b="1" err="1">
                <a:solidFill>
                  <a:schemeClr val="tx2"/>
                </a:solidFill>
                <a:latin typeface="Poppins" pitchFamily="2" charset="77"/>
                <a:cs typeface="Poppins" pitchFamily="2" charset="77"/>
              </a:rPr>
              <a:t>Disclaimer</a:t>
            </a:r>
            <a:endParaRPr lang="es-CL" sz="3000" b="1">
              <a:solidFill>
                <a:schemeClr val="tx2"/>
              </a:solidFill>
              <a:latin typeface="Poppins" pitchFamily="2" charset="77"/>
              <a:cs typeface="Poppins" pitchFamily="2" charset="77"/>
            </a:endParaRPr>
          </a:p>
        </p:txBody>
      </p:sp>
      <p:sp>
        <p:nvSpPr>
          <p:cNvPr id="3" name="Rectángulo 2">
            <a:extLst>
              <a:ext uri="{FF2B5EF4-FFF2-40B4-BE49-F238E27FC236}">
                <a16:creationId xmlns:a16="http://schemas.microsoft.com/office/drawing/2014/main" id="{81593475-81AA-3F2C-4F5B-1F99B21BE5B1}"/>
              </a:ext>
            </a:extLst>
          </p:cNvPr>
          <p:cNvSpPr/>
          <p:nvPr/>
        </p:nvSpPr>
        <p:spPr>
          <a:xfrm>
            <a:off x="931995" y="1850533"/>
            <a:ext cx="4713343" cy="2893100"/>
          </a:xfrm>
          <a:prstGeom prst="rect">
            <a:avLst/>
          </a:prstGeom>
        </p:spPr>
        <p:txBody>
          <a:bodyPr wrap="square">
            <a:spAutoFit/>
          </a:bodyPr>
          <a:lstStyle/>
          <a:p>
            <a:pPr algn="just"/>
            <a:r>
              <a:rPr lang="en-US" sz="1300">
                <a:solidFill>
                  <a:schemeClr val="tx2"/>
                </a:solidFill>
                <a:latin typeface="Montserrat" pitchFamily="2" charset="77"/>
              </a:rPr>
              <a:t>The information contained in this presentation has been prepared by Cencosud Shopping S.A. (“Cenco Malls”) for informational purposes only. It should not be interpreted as a request or offer to buy or sell securities, should not be considered as investment advice or any other form of advice. No guarantee, express or implied, is made regarding the accuracy, completeness, and reliability of the information contained in this document.</a:t>
            </a:r>
          </a:p>
          <a:p>
            <a:pPr algn="just"/>
            <a:endParaRPr lang="en-US" sz="1300">
              <a:solidFill>
                <a:schemeClr val="tx2"/>
              </a:solidFill>
              <a:latin typeface="Montserrat" pitchFamily="2" charset="77"/>
            </a:endParaRPr>
          </a:p>
          <a:p>
            <a:pPr algn="just"/>
            <a:r>
              <a:rPr lang="en-US" sz="1300">
                <a:solidFill>
                  <a:schemeClr val="tx2"/>
                </a:solidFill>
                <a:latin typeface="Montserrat" pitchFamily="2" charset="77"/>
              </a:rPr>
              <a:t>The opinions expressed in this presentation are subject to change without notice, and </a:t>
            </a:r>
            <a:r>
              <a:rPr lang="en-US" sz="1300" err="1">
                <a:solidFill>
                  <a:schemeClr val="tx2"/>
                </a:solidFill>
                <a:latin typeface="Montserrat" pitchFamily="2" charset="77"/>
              </a:rPr>
              <a:t>Cenco</a:t>
            </a:r>
            <a:r>
              <a:rPr lang="en-US" sz="1300">
                <a:solidFill>
                  <a:schemeClr val="tx2"/>
                </a:solidFill>
                <a:latin typeface="Montserrat" pitchFamily="2" charset="77"/>
              </a:rPr>
              <a:t> Malls has no obligation to update the information provided. This document is not intended to be comprehensive.</a:t>
            </a:r>
            <a:endParaRPr lang="es-CL" sz="1300">
              <a:solidFill>
                <a:schemeClr val="tx2"/>
              </a:solidFill>
              <a:latin typeface="Montserrat" pitchFamily="2" charset="77"/>
            </a:endParaRPr>
          </a:p>
        </p:txBody>
      </p:sp>
      <p:sp>
        <p:nvSpPr>
          <p:cNvPr id="4" name="Rectángulo 3">
            <a:extLst>
              <a:ext uri="{FF2B5EF4-FFF2-40B4-BE49-F238E27FC236}">
                <a16:creationId xmlns:a16="http://schemas.microsoft.com/office/drawing/2014/main" id="{6398C847-3F5C-D384-E31F-3229480E7942}"/>
              </a:ext>
            </a:extLst>
          </p:cNvPr>
          <p:cNvSpPr/>
          <p:nvPr/>
        </p:nvSpPr>
        <p:spPr>
          <a:xfrm>
            <a:off x="5764996" y="1850533"/>
            <a:ext cx="4713343" cy="2693045"/>
          </a:xfrm>
          <a:prstGeom prst="rect">
            <a:avLst/>
          </a:prstGeom>
        </p:spPr>
        <p:txBody>
          <a:bodyPr wrap="square">
            <a:spAutoFit/>
          </a:bodyPr>
          <a:lstStyle/>
          <a:p>
            <a:pPr algn="just"/>
            <a:r>
              <a:rPr lang="en-US" sz="1300">
                <a:solidFill>
                  <a:schemeClr val="tx2"/>
                </a:solidFill>
                <a:latin typeface="Montserrat" pitchFamily="2" charset="77"/>
              </a:rPr>
              <a:t>Cenco Malls and its subsidiaries, directors, and employees accept no responsibility for any loss or damage that may arise from the use of this material, in whole or in part.</a:t>
            </a:r>
          </a:p>
          <a:p>
            <a:pPr algn="just"/>
            <a:endParaRPr lang="en-US" sz="1300">
              <a:solidFill>
                <a:schemeClr val="tx2"/>
              </a:solidFill>
              <a:latin typeface="Montserrat" pitchFamily="2" charset="77"/>
            </a:endParaRPr>
          </a:p>
          <a:p>
            <a:pPr algn="just"/>
            <a:r>
              <a:rPr lang="en-US" sz="1300">
                <a:solidFill>
                  <a:schemeClr val="tx2"/>
                </a:solidFill>
                <a:latin typeface="Montserrat" pitchFamily="2" charset="77"/>
              </a:rPr>
              <a:t>This presentation may contain forward-looking statements based on current expectations and projections about future events and trends that could affect </a:t>
            </a:r>
            <a:r>
              <a:rPr lang="en-US" sz="1300" err="1">
                <a:solidFill>
                  <a:schemeClr val="tx2"/>
                </a:solidFill>
                <a:latin typeface="Montserrat" pitchFamily="2" charset="77"/>
              </a:rPr>
              <a:t>Cenco</a:t>
            </a:r>
            <a:r>
              <a:rPr lang="en-US" sz="1300">
                <a:solidFill>
                  <a:schemeClr val="tx2"/>
                </a:solidFill>
                <a:latin typeface="Montserrat" pitchFamily="2" charset="77"/>
              </a:rPr>
              <a:t> Malls. Please be aware that such statements are not guarantees of the future performance. Numerous factors beyond our control may adversely impact the estimates and assumptions on which these forward-looking statements are based.</a:t>
            </a:r>
            <a:endParaRPr lang="es-CL" sz="1300">
              <a:solidFill>
                <a:schemeClr val="tx2"/>
              </a:solidFill>
              <a:latin typeface="Montserrat" pitchFamily="2" charset="77"/>
            </a:endParaRPr>
          </a:p>
        </p:txBody>
      </p:sp>
      <p:sp>
        <p:nvSpPr>
          <p:cNvPr id="6" name="Título 1">
            <a:extLst>
              <a:ext uri="{FF2B5EF4-FFF2-40B4-BE49-F238E27FC236}">
                <a16:creationId xmlns:a16="http://schemas.microsoft.com/office/drawing/2014/main" id="{5AB230BE-EB69-5D0D-CF38-B26B666F36C8}"/>
              </a:ext>
            </a:extLst>
          </p:cNvPr>
          <p:cNvSpPr txBox="1">
            <a:spLocks/>
          </p:cNvSpPr>
          <p:nvPr/>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tx2"/>
                </a:solidFill>
                <a:latin typeface="Poppins" pitchFamily="2" charset="77"/>
                <a:cs typeface="Poppins" pitchFamily="2" charset="77"/>
              </a:rPr>
              <a:t>Earning</a:t>
            </a:r>
            <a:r>
              <a:rPr lang="es-MX" sz="800" b="1">
                <a:solidFill>
                  <a:schemeClr val="tx2"/>
                </a:solidFill>
                <a:latin typeface="Poppins" pitchFamily="2" charset="77"/>
                <a:cs typeface="Poppins" pitchFamily="2" charset="77"/>
              </a:rPr>
              <a:t> </a:t>
            </a:r>
            <a:r>
              <a:rPr lang="es-MX" sz="800" b="1" err="1">
                <a:solidFill>
                  <a:schemeClr val="tx2"/>
                </a:solidFill>
                <a:latin typeface="Poppins" pitchFamily="2" charset="77"/>
                <a:cs typeface="Poppins" pitchFamily="2" charset="77"/>
              </a:rPr>
              <a:t>Presentation</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First</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Quarter</a:t>
            </a:r>
            <a:r>
              <a:rPr lang="es-MX" sz="800" b="0">
                <a:solidFill>
                  <a:schemeClr val="tx2"/>
                </a:solidFill>
                <a:latin typeface="Poppins" pitchFamily="2" charset="77"/>
                <a:cs typeface="Poppins" pitchFamily="2" charset="77"/>
              </a:rPr>
              <a:t> 2025</a:t>
            </a:r>
            <a:endParaRPr lang="es-CL" sz="800" b="0">
              <a:solidFill>
                <a:schemeClr val="tx2"/>
              </a:solidFill>
              <a:latin typeface="Poppins" pitchFamily="2" charset="77"/>
              <a:cs typeface="Poppins" pitchFamily="2" charset="77"/>
            </a:endParaRPr>
          </a:p>
        </p:txBody>
      </p:sp>
    </p:spTree>
    <p:extLst>
      <p:ext uri="{BB962C8B-B14F-4D97-AF65-F5344CB8AC3E}">
        <p14:creationId xmlns:p14="http://schemas.microsoft.com/office/powerpoint/2010/main" val="22064623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691F5DD0-1C24-90A0-86BC-59BC3AEE7E55}"/>
              </a:ext>
            </a:extLst>
          </p:cNvPr>
          <p:cNvPicPr>
            <a:picLocks noChangeAspect="1"/>
          </p:cNvPicPr>
          <p:nvPr/>
        </p:nvPicPr>
        <p:blipFill>
          <a:blip r:embed="rId4"/>
          <a:stretch>
            <a:fillRect/>
          </a:stretch>
        </p:blipFill>
        <p:spPr>
          <a:xfrm>
            <a:off x="0" y="0"/>
            <a:ext cx="12192000" cy="6858000"/>
          </a:xfrm>
          <a:prstGeom prst="rect">
            <a:avLst/>
          </a:prstGeom>
        </p:spPr>
      </p:pic>
      <p:graphicFrame>
        <p:nvGraphicFramePr>
          <p:cNvPr id="7" name="think-cell data - do not delete" hidden="1">
            <a:extLst>
              <a:ext uri="{FF2B5EF4-FFF2-40B4-BE49-F238E27FC236}">
                <a16:creationId xmlns:a16="http://schemas.microsoft.com/office/drawing/2014/main" id="{D6671726-3BCD-F3FA-F071-A4A61FC925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95" imgH="396" progId="TCLayout.ActiveDocument.1">
                  <p:embed/>
                </p:oleObj>
              </mc:Choice>
              <mc:Fallback>
                <p:oleObj name="Diapositiva de think-cell" r:id="rId5" imgW="395" imgH="396" progId="TCLayout.ActiveDocument.1">
                  <p:embed/>
                  <p:pic>
                    <p:nvPicPr>
                      <p:cNvPr id="7" name="think-cell data - do not delete" hidden="1">
                        <a:extLst>
                          <a:ext uri="{FF2B5EF4-FFF2-40B4-BE49-F238E27FC236}">
                            <a16:creationId xmlns:a16="http://schemas.microsoft.com/office/drawing/2014/main" id="{D6671726-3BCD-F3FA-F071-A4A61FC925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095077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222ED6-7AAD-914A-472C-84116D4BFE9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31C162A-6C53-31C9-9426-97596DD8BF31}"/>
              </a:ext>
            </a:extLst>
          </p:cNvPr>
          <p:cNvGraphicFramePr>
            <a:graphicFrameLocks noChangeAspect="1"/>
          </p:cNvGraphicFramePr>
          <p:nvPr>
            <p:custDataLst>
              <p:tags r:id="rId1"/>
            </p:custDataLst>
            <p:extLst>
              <p:ext uri="{D42A27DB-BD31-4B8C-83A1-F6EECF244321}">
                <p14:modId xmlns:p14="http://schemas.microsoft.com/office/powerpoint/2010/main" val="1378588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6" progId="TCLayout.ActiveDocument.1">
                  <p:embed/>
                </p:oleObj>
              </mc:Choice>
              <mc:Fallback>
                <p:oleObj name="Diapositiva de think-cell" r:id="rId4" imgW="395" imgH="396" progId="TCLayout.ActiveDocument.1">
                  <p:embed/>
                  <p:pic>
                    <p:nvPicPr>
                      <p:cNvPr id="7" name="think-cell data - do not delete" hidden="1">
                        <a:extLst>
                          <a:ext uri="{FF2B5EF4-FFF2-40B4-BE49-F238E27FC236}">
                            <a16:creationId xmlns:a16="http://schemas.microsoft.com/office/drawing/2014/main" id="{531C162A-6C53-31C9-9426-97596DD8BF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dondear rectángulo de una esquina 4">
            <a:extLst>
              <a:ext uri="{FF2B5EF4-FFF2-40B4-BE49-F238E27FC236}">
                <a16:creationId xmlns:a16="http://schemas.microsoft.com/office/drawing/2014/main" id="{B14BB7B3-B8B3-42E3-822F-E28EF32DC1C2}"/>
              </a:ext>
            </a:extLst>
          </p:cNvPr>
          <p:cNvSpPr/>
          <p:nvPr/>
        </p:nvSpPr>
        <p:spPr>
          <a:xfrm flipH="1">
            <a:off x="0" y="5106080"/>
            <a:ext cx="12192000" cy="1765300"/>
          </a:xfrm>
          <a:prstGeom prst="round1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2" name="Redondear rectángulo de una esquina 6">
            <a:extLst>
              <a:ext uri="{FF2B5EF4-FFF2-40B4-BE49-F238E27FC236}">
                <a16:creationId xmlns:a16="http://schemas.microsoft.com/office/drawing/2014/main" id="{FBB3CB7E-1196-329F-9F7F-A9D8784F2663}"/>
              </a:ext>
            </a:extLst>
          </p:cNvPr>
          <p:cNvSpPr/>
          <p:nvPr/>
        </p:nvSpPr>
        <p:spPr>
          <a:xfrm>
            <a:off x="204279" y="803198"/>
            <a:ext cx="10236893" cy="5251604"/>
          </a:xfrm>
          <a:prstGeom prst="roundRect">
            <a:avLst>
              <a:gd name="adj" fmla="val 552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 name="CuadroTexto 2">
            <a:extLst>
              <a:ext uri="{FF2B5EF4-FFF2-40B4-BE49-F238E27FC236}">
                <a16:creationId xmlns:a16="http://schemas.microsoft.com/office/drawing/2014/main" id="{901CC820-D2CA-AFB3-0AFE-0471FBCAF105}"/>
              </a:ext>
            </a:extLst>
          </p:cNvPr>
          <p:cNvSpPr txBox="1"/>
          <p:nvPr/>
        </p:nvSpPr>
        <p:spPr>
          <a:xfrm>
            <a:off x="491796" y="207049"/>
            <a:ext cx="6466866" cy="553998"/>
          </a:xfrm>
          <a:prstGeom prst="rect">
            <a:avLst/>
          </a:prstGeom>
          <a:noFill/>
        </p:spPr>
        <p:txBody>
          <a:bodyPr wrap="square" rtlCol="0">
            <a:spAutoFit/>
          </a:bodyPr>
          <a:lstStyle/>
          <a:p>
            <a:r>
              <a:rPr lang="es-CL" sz="3000" b="1">
                <a:solidFill>
                  <a:schemeClr val="accent3"/>
                </a:solidFill>
                <a:latin typeface="Poppins" pitchFamily="2" charset="77"/>
                <a:cs typeface="Poppins" pitchFamily="2" charset="77"/>
              </a:rPr>
              <a:t>1.1</a:t>
            </a:r>
            <a:r>
              <a:rPr lang="es-CL" sz="3000" b="1">
                <a:solidFill>
                  <a:schemeClr val="accent2"/>
                </a:solidFill>
                <a:latin typeface="Poppins" pitchFamily="2" charset="77"/>
                <a:cs typeface="Poppins" pitchFamily="2" charset="77"/>
              </a:rPr>
              <a:t> </a:t>
            </a:r>
            <a:r>
              <a:rPr lang="es-CL" sz="3000" b="1" err="1">
                <a:solidFill>
                  <a:srgbClr val="021766"/>
                </a:solidFill>
                <a:latin typeface="Poppins" pitchFamily="2" charset="77"/>
                <a:cs typeface="Poppins" pitchFamily="2" charset="77"/>
              </a:rPr>
              <a:t>Highlights</a:t>
            </a:r>
            <a:r>
              <a:rPr lang="es-CL" sz="3000" b="1">
                <a:solidFill>
                  <a:srgbClr val="021766"/>
                </a:solidFill>
                <a:latin typeface="Poppins" pitchFamily="2" charset="77"/>
                <a:cs typeface="Poppins" pitchFamily="2" charset="77"/>
              </a:rPr>
              <a:t> </a:t>
            </a:r>
            <a:r>
              <a:rPr lang="es-CL" sz="3000" b="1" err="1">
                <a:solidFill>
                  <a:srgbClr val="021766"/>
                </a:solidFill>
                <a:latin typeface="Poppins" pitchFamily="2" charset="77"/>
                <a:cs typeface="Poppins" pitchFamily="2" charset="77"/>
              </a:rPr>
              <a:t>of</a:t>
            </a:r>
            <a:r>
              <a:rPr lang="es-CL" sz="3000" b="1">
                <a:solidFill>
                  <a:srgbClr val="021766"/>
                </a:solidFill>
                <a:latin typeface="Poppins" pitchFamily="2" charset="77"/>
                <a:cs typeface="Poppins" pitchFamily="2" charset="77"/>
              </a:rPr>
              <a:t> </a:t>
            </a:r>
            <a:r>
              <a:rPr lang="es-CL" sz="3000" b="1" err="1">
                <a:solidFill>
                  <a:srgbClr val="021766"/>
                </a:solidFill>
                <a:latin typeface="Poppins" pitchFamily="2" charset="77"/>
                <a:cs typeface="Poppins" pitchFamily="2" charset="77"/>
              </a:rPr>
              <a:t>the</a:t>
            </a:r>
            <a:r>
              <a:rPr lang="es-CL" sz="3000" b="1">
                <a:solidFill>
                  <a:srgbClr val="021766"/>
                </a:solidFill>
                <a:latin typeface="Poppins" pitchFamily="2" charset="77"/>
                <a:cs typeface="Poppins" pitchFamily="2" charset="77"/>
              </a:rPr>
              <a:t> </a:t>
            </a:r>
            <a:r>
              <a:rPr lang="es-CL" sz="3000" b="1" err="1">
                <a:solidFill>
                  <a:srgbClr val="021766"/>
                </a:solidFill>
                <a:latin typeface="Poppins" pitchFamily="2" charset="77"/>
                <a:cs typeface="Poppins" pitchFamily="2" charset="77"/>
              </a:rPr>
              <a:t>Period</a:t>
            </a:r>
            <a:endParaRPr lang="es-CL" sz="3000" b="1">
              <a:solidFill>
                <a:srgbClr val="021766"/>
              </a:solidFill>
              <a:latin typeface="Poppins" pitchFamily="2" charset="77"/>
              <a:cs typeface="Poppins" pitchFamily="2" charset="77"/>
            </a:endParaRPr>
          </a:p>
        </p:txBody>
      </p:sp>
      <p:grpSp>
        <p:nvGrpSpPr>
          <p:cNvPr id="8" name="Grupo 7">
            <a:extLst>
              <a:ext uri="{FF2B5EF4-FFF2-40B4-BE49-F238E27FC236}">
                <a16:creationId xmlns:a16="http://schemas.microsoft.com/office/drawing/2014/main" id="{F70ED22F-B7CE-F3FE-FF9D-BCA28A210FE9}"/>
              </a:ext>
            </a:extLst>
          </p:cNvPr>
          <p:cNvGrpSpPr/>
          <p:nvPr/>
        </p:nvGrpSpPr>
        <p:grpSpPr>
          <a:xfrm>
            <a:off x="360590" y="1041575"/>
            <a:ext cx="7296520" cy="1065369"/>
            <a:chOff x="4659669" y="1249108"/>
            <a:chExt cx="7308000" cy="1065369"/>
          </a:xfrm>
        </p:grpSpPr>
        <p:sp>
          <p:nvSpPr>
            <p:cNvPr id="9" name="CuadroTexto 8">
              <a:extLst>
                <a:ext uri="{FF2B5EF4-FFF2-40B4-BE49-F238E27FC236}">
                  <a16:creationId xmlns:a16="http://schemas.microsoft.com/office/drawing/2014/main" id="{0C0C53A1-E8A0-479E-0EAF-9D191B19BF26}"/>
                </a:ext>
              </a:extLst>
            </p:cNvPr>
            <p:cNvSpPr txBox="1"/>
            <p:nvPr/>
          </p:nvSpPr>
          <p:spPr>
            <a:xfrm>
              <a:off x="4659669" y="1483480"/>
              <a:ext cx="6769888" cy="830997"/>
            </a:xfrm>
            <a:prstGeom prst="rect">
              <a:avLst/>
            </a:prstGeom>
            <a:noFill/>
          </p:spPr>
          <p:txBody>
            <a:bodyPr wrap="square" rtlCol="0">
              <a:spAutoFit/>
            </a:bodyPr>
            <a:lstStyle/>
            <a:p>
              <a:pPr marL="285750" indent="-285750" algn="just">
                <a:buSzPct val="130000"/>
                <a:buBlip>
                  <a:blip r:embed="rId6"/>
                </a:buBlip>
              </a:pPr>
              <a:r>
                <a:rPr lang="en-US" sz="1200">
                  <a:solidFill>
                    <a:schemeClr val="tx2"/>
                  </a:solidFill>
                  <a:latin typeface="Poppins" pitchFamily="2" charset="77"/>
                  <a:cs typeface="Poppins" pitchFamily="2" charset="77"/>
                </a:rPr>
                <a:t>In January, </a:t>
              </a:r>
              <a:r>
                <a:rPr lang="en-US" sz="1200" b="1">
                  <a:solidFill>
                    <a:schemeClr val="tx2"/>
                  </a:solidFill>
                  <a:latin typeface="Poppins" pitchFamily="2" charset="77"/>
                  <a:cs typeface="Poppins" pitchFamily="2" charset="77"/>
                </a:rPr>
                <a:t>new free service areas were introduced at Cenco Costanera and Cenco Alto Las Condes</a:t>
              </a:r>
              <a:r>
                <a:rPr lang="en-US" sz="1200">
                  <a:solidFill>
                    <a:schemeClr val="tx2"/>
                  </a:solidFill>
                  <a:latin typeface="Poppins" pitchFamily="2" charset="77"/>
                  <a:cs typeface="Poppins" pitchFamily="2" charset="77"/>
                </a:rPr>
                <a:t>. These areas include electric vehicle charging stations and tire inflation points, enhancing the visitor experience and supporting sustainable mobility.</a:t>
              </a:r>
              <a:endParaRPr lang="es-CL" sz="1200">
                <a:solidFill>
                  <a:schemeClr val="tx2"/>
                </a:solidFill>
                <a:latin typeface="Poppins" pitchFamily="2" charset="77"/>
                <a:cs typeface="Poppins" pitchFamily="2" charset="77"/>
              </a:endParaRPr>
            </a:p>
          </p:txBody>
        </p:sp>
        <p:sp>
          <p:nvSpPr>
            <p:cNvPr id="11" name="Rectángulo 10">
              <a:extLst>
                <a:ext uri="{FF2B5EF4-FFF2-40B4-BE49-F238E27FC236}">
                  <a16:creationId xmlns:a16="http://schemas.microsoft.com/office/drawing/2014/main" id="{2E6A40FB-38C0-AC49-1A00-1C0A2C62E11B}"/>
                </a:ext>
              </a:extLst>
            </p:cNvPr>
            <p:cNvSpPr/>
            <p:nvPr/>
          </p:nvSpPr>
          <p:spPr>
            <a:xfrm>
              <a:off x="4659669" y="1249108"/>
              <a:ext cx="7308000" cy="307777"/>
            </a:xfrm>
            <a:prstGeom prst="rect">
              <a:avLst/>
            </a:prstGeom>
          </p:spPr>
          <p:txBody>
            <a:bodyPr wrap="square">
              <a:spAutoFit/>
            </a:bodyPr>
            <a:lstStyle/>
            <a:p>
              <a:r>
                <a:rPr kumimoji="0" lang="en-US" sz="1400" b="1" i="0" u="none" strike="noStrike" kern="1200" cap="none" spc="0" normalizeH="0" baseline="0" noProof="0">
                  <a:ln>
                    <a:noFill/>
                  </a:ln>
                  <a:solidFill>
                    <a:schemeClr val="accent1"/>
                  </a:solidFill>
                  <a:effectLst/>
                  <a:uLnTx/>
                  <a:uFillTx/>
                  <a:latin typeface="Poppins" pitchFamily="2" charset="77"/>
                  <a:cs typeface="Poppins" pitchFamily="2" charset="77"/>
                </a:rPr>
                <a:t>New Service Areas in Parking Lots</a:t>
              </a:r>
              <a:endParaRPr lang="es-CL" sz="2000" b="1">
                <a:solidFill>
                  <a:schemeClr val="accent1"/>
                </a:solidFill>
                <a:latin typeface="Poppins" pitchFamily="2" charset="77"/>
                <a:cs typeface="Poppins" pitchFamily="2" charset="77"/>
              </a:endParaRPr>
            </a:p>
          </p:txBody>
        </p:sp>
      </p:grpSp>
      <p:grpSp>
        <p:nvGrpSpPr>
          <p:cNvPr id="18" name="Grupo 17">
            <a:extLst>
              <a:ext uri="{FF2B5EF4-FFF2-40B4-BE49-F238E27FC236}">
                <a16:creationId xmlns:a16="http://schemas.microsoft.com/office/drawing/2014/main" id="{530C38BE-8F41-1E06-1332-0D53392BF972}"/>
              </a:ext>
            </a:extLst>
          </p:cNvPr>
          <p:cNvGrpSpPr/>
          <p:nvPr/>
        </p:nvGrpSpPr>
        <p:grpSpPr>
          <a:xfrm>
            <a:off x="369555" y="2268276"/>
            <a:ext cx="7296520" cy="1065369"/>
            <a:chOff x="4659669" y="1249108"/>
            <a:chExt cx="7308000" cy="1065369"/>
          </a:xfrm>
        </p:grpSpPr>
        <p:sp>
          <p:nvSpPr>
            <p:cNvPr id="19" name="CuadroTexto 18">
              <a:extLst>
                <a:ext uri="{FF2B5EF4-FFF2-40B4-BE49-F238E27FC236}">
                  <a16:creationId xmlns:a16="http://schemas.microsoft.com/office/drawing/2014/main" id="{9A5914E0-4C61-ECB0-904E-74F66E01E011}"/>
                </a:ext>
              </a:extLst>
            </p:cNvPr>
            <p:cNvSpPr txBox="1"/>
            <p:nvPr/>
          </p:nvSpPr>
          <p:spPr>
            <a:xfrm>
              <a:off x="4659669" y="1483480"/>
              <a:ext cx="6769888" cy="830997"/>
            </a:xfrm>
            <a:prstGeom prst="rect">
              <a:avLst/>
            </a:prstGeom>
            <a:noFill/>
          </p:spPr>
          <p:txBody>
            <a:bodyPr wrap="square" rtlCol="0">
              <a:spAutoFit/>
            </a:bodyPr>
            <a:lstStyle/>
            <a:p>
              <a:pPr marL="285750" indent="-285750" algn="just">
                <a:buSzPct val="130000"/>
                <a:buBlip>
                  <a:blip r:embed="rId6"/>
                </a:buBlip>
              </a:pPr>
              <a:r>
                <a:rPr lang="en-US" sz="1200">
                  <a:solidFill>
                    <a:schemeClr val="tx2"/>
                  </a:solidFill>
                  <a:latin typeface="Poppins" pitchFamily="2" charset="77"/>
                  <a:cs typeface="Poppins" pitchFamily="2" charset="77"/>
                </a:rPr>
                <a:t>Aligned with the strategic focus on innovation, the Company held the Demo Day of </a:t>
              </a:r>
              <a:r>
                <a:rPr lang="en-US" sz="1200" err="1">
                  <a:solidFill>
                    <a:schemeClr val="tx2"/>
                  </a:solidFill>
                  <a:latin typeface="Poppins" pitchFamily="2" charset="77"/>
                  <a:cs typeface="Poppins" pitchFamily="2" charset="77"/>
                </a:rPr>
                <a:t>CosmoLab</a:t>
              </a:r>
              <a:r>
                <a:rPr lang="en-US" sz="1200">
                  <a:solidFill>
                    <a:schemeClr val="tx2"/>
                  </a:solidFill>
                  <a:latin typeface="Poppins" pitchFamily="2" charset="77"/>
                  <a:cs typeface="Poppins" pitchFamily="2" charset="77"/>
                </a:rPr>
                <a:t> by Cenco Malls, marking the conclusion of the open innovation challenge launched in partnership with </a:t>
              </a:r>
              <a:r>
                <a:rPr lang="en-US" sz="1200" err="1">
                  <a:solidFill>
                    <a:schemeClr val="tx2"/>
                  </a:solidFill>
                  <a:latin typeface="Poppins" pitchFamily="2" charset="77"/>
                  <a:cs typeface="Poppins" pitchFamily="2" charset="77"/>
                </a:rPr>
                <a:t>Bluebox</a:t>
              </a:r>
              <a:r>
                <a:rPr lang="en-US" sz="1200" b="1">
                  <a:solidFill>
                    <a:schemeClr val="tx2"/>
                  </a:solidFill>
                  <a:latin typeface="Poppins" pitchFamily="2" charset="77"/>
                  <a:cs typeface="Poppins" pitchFamily="2" charset="77"/>
                </a:rPr>
                <a:t>. Four innovation projects were selected to be piloted in Cenco Malls’ shopping centers</a:t>
              </a:r>
              <a:r>
                <a:rPr lang="en-US" sz="1200">
                  <a:solidFill>
                    <a:schemeClr val="tx2"/>
                  </a:solidFill>
                  <a:latin typeface="Poppins" pitchFamily="2" charset="77"/>
                  <a:cs typeface="Poppins" pitchFamily="2" charset="77"/>
                </a:rPr>
                <a:t>.</a:t>
              </a:r>
              <a:endParaRPr lang="es-CL" sz="1200">
                <a:solidFill>
                  <a:schemeClr val="tx2"/>
                </a:solidFill>
                <a:latin typeface="Poppins" pitchFamily="2" charset="77"/>
                <a:cs typeface="Poppins" pitchFamily="2" charset="77"/>
              </a:endParaRPr>
            </a:p>
          </p:txBody>
        </p:sp>
        <p:sp>
          <p:nvSpPr>
            <p:cNvPr id="20" name="Rectángulo 19">
              <a:extLst>
                <a:ext uri="{FF2B5EF4-FFF2-40B4-BE49-F238E27FC236}">
                  <a16:creationId xmlns:a16="http://schemas.microsoft.com/office/drawing/2014/main" id="{3B3F2425-BC73-3800-40F0-891204DDA283}"/>
                </a:ext>
              </a:extLst>
            </p:cNvPr>
            <p:cNvSpPr/>
            <p:nvPr/>
          </p:nvSpPr>
          <p:spPr>
            <a:xfrm>
              <a:off x="4659669" y="1249108"/>
              <a:ext cx="7308000" cy="307777"/>
            </a:xfrm>
            <a:prstGeom prst="rect">
              <a:avLst/>
            </a:prstGeom>
          </p:spPr>
          <p:txBody>
            <a:bodyPr wrap="square">
              <a:spAutoFit/>
            </a:bodyPr>
            <a:lstStyle/>
            <a:p>
              <a:r>
                <a:rPr kumimoji="0" lang="en-US" sz="1400" b="1" i="0" u="none" strike="noStrike" kern="1200" cap="none" spc="0" normalizeH="0" baseline="0" noProof="0">
                  <a:ln>
                    <a:noFill/>
                  </a:ln>
                  <a:solidFill>
                    <a:schemeClr val="accent1"/>
                  </a:solidFill>
                  <a:effectLst/>
                  <a:uLnTx/>
                  <a:uFillTx/>
                  <a:latin typeface="Poppins" pitchFamily="2" charset="77"/>
                  <a:cs typeface="Poppins" pitchFamily="2" charset="77"/>
                </a:rPr>
                <a:t>Demo Day of </a:t>
              </a:r>
              <a:r>
                <a:rPr kumimoji="0" lang="en-US" sz="1400" b="1" i="0" u="none" strike="noStrike" kern="1200" cap="none" spc="0" normalizeH="0" baseline="0" noProof="0" err="1">
                  <a:ln>
                    <a:noFill/>
                  </a:ln>
                  <a:solidFill>
                    <a:schemeClr val="accent1"/>
                  </a:solidFill>
                  <a:effectLst/>
                  <a:uLnTx/>
                  <a:uFillTx/>
                  <a:latin typeface="Poppins" pitchFamily="2" charset="77"/>
                  <a:cs typeface="Poppins" pitchFamily="2" charset="77"/>
                </a:rPr>
                <a:t>CosmoLab</a:t>
              </a:r>
              <a:r>
                <a:rPr kumimoji="0" lang="en-US" sz="1400" b="1" i="0" u="none" strike="noStrike" kern="1200" cap="none" spc="0" normalizeH="0" baseline="0" noProof="0">
                  <a:ln>
                    <a:noFill/>
                  </a:ln>
                  <a:solidFill>
                    <a:schemeClr val="accent1"/>
                  </a:solidFill>
                  <a:effectLst/>
                  <a:uLnTx/>
                  <a:uFillTx/>
                  <a:latin typeface="Poppins" pitchFamily="2" charset="77"/>
                  <a:cs typeface="Poppins" pitchFamily="2" charset="77"/>
                </a:rPr>
                <a:t> by Cenco Malls</a:t>
              </a:r>
              <a:endParaRPr lang="es-CL" sz="2000" b="1">
                <a:solidFill>
                  <a:schemeClr val="accent1"/>
                </a:solidFill>
                <a:latin typeface="Poppins" pitchFamily="2" charset="77"/>
                <a:cs typeface="Poppins" pitchFamily="2" charset="77"/>
              </a:endParaRPr>
            </a:p>
          </p:txBody>
        </p:sp>
      </p:grpSp>
      <p:grpSp>
        <p:nvGrpSpPr>
          <p:cNvPr id="24" name="Grupo 23">
            <a:extLst>
              <a:ext uri="{FF2B5EF4-FFF2-40B4-BE49-F238E27FC236}">
                <a16:creationId xmlns:a16="http://schemas.microsoft.com/office/drawing/2014/main" id="{1BAD2521-D74F-129B-FE5A-C42A55975AA2}"/>
              </a:ext>
            </a:extLst>
          </p:cNvPr>
          <p:cNvGrpSpPr/>
          <p:nvPr/>
        </p:nvGrpSpPr>
        <p:grpSpPr>
          <a:xfrm>
            <a:off x="369555" y="3548584"/>
            <a:ext cx="7296520" cy="1250035"/>
            <a:chOff x="4659669" y="1249108"/>
            <a:chExt cx="7308000" cy="1250035"/>
          </a:xfrm>
        </p:grpSpPr>
        <p:sp>
          <p:nvSpPr>
            <p:cNvPr id="25" name="CuadroTexto 24">
              <a:extLst>
                <a:ext uri="{FF2B5EF4-FFF2-40B4-BE49-F238E27FC236}">
                  <a16:creationId xmlns:a16="http://schemas.microsoft.com/office/drawing/2014/main" id="{06B242A2-5689-D07D-E831-AE7358C06322}"/>
                </a:ext>
              </a:extLst>
            </p:cNvPr>
            <p:cNvSpPr txBox="1"/>
            <p:nvPr/>
          </p:nvSpPr>
          <p:spPr>
            <a:xfrm>
              <a:off x="4659669" y="1483480"/>
              <a:ext cx="6769888" cy="1015663"/>
            </a:xfrm>
            <a:prstGeom prst="rect">
              <a:avLst/>
            </a:prstGeom>
            <a:noFill/>
          </p:spPr>
          <p:txBody>
            <a:bodyPr wrap="square" rtlCol="0">
              <a:spAutoFit/>
            </a:bodyPr>
            <a:lstStyle/>
            <a:p>
              <a:pPr marL="285750" indent="-285750" algn="just">
                <a:buSzPct val="130000"/>
                <a:buBlip>
                  <a:blip r:embed="rId6"/>
                </a:buBlip>
              </a:pPr>
              <a:r>
                <a:rPr lang="en-US" sz="1200">
                  <a:solidFill>
                    <a:schemeClr val="tx2"/>
                  </a:solidFill>
                  <a:latin typeface="Poppins" pitchFamily="2" charset="77"/>
                  <a:cs typeface="Poppins" pitchFamily="2" charset="77"/>
                </a:rPr>
                <a:t>Cenco Malls was the main sponsor of Lollapalooza Chile 2025, an event attended by over 155,000 people. The brand was featured on the Festival’s main stage and participated with three high-visibility activities and distinctive experiences</a:t>
              </a:r>
              <a:r>
                <a:rPr lang="en-US" sz="1200" b="1">
                  <a:solidFill>
                    <a:schemeClr val="tx2"/>
                  </a:solidFill>
                  <a:latin typeface="Poppins" pitchFamily="2" charset="77"/>
                  <a:cs typeface="Poppins" pitchFamily="2" charset="77"/>
                </a:rPr>
                <a:t>, strengthening Cenco Malls brand positioning and creating memorable experiences for its attendees</a:t>
              </a:r>
              <a:r>
                <a:rPr lang="en-US" sz="1200">
                  <a:solidFill>
                    <a:schemeClr val="tx2"/>
                  </a:solidFill>
                  <a:latin typeface="Poppins" pitchFamily="2" charset="77"/>
                  <a:cs typeface="Poppins" pitchFamily="2" charset="77"/>
                </a:rPr>
                <a:t>.</a:t>
              </a:r>
              <a:endParaRPr lang="es-CL" sz="1200">
                <a:solidFill>
                  <a:schemeClr val="tx2"/>
                </a:solidFill>
                <a:latin typeface="Poppins" pitchFamily="2" charset="77"/>
                <a:cs typeface="Poppins" pitchFamily="2" charset="77"/>
              </a:endParaRPr>
            </a:p>
          </p:txBody>
        </p:sp>
        <p:sp>
          <p:nvSpPr>
            <p:cNvPr id="26" name="Rectángulo 25">
              <a:extLst>
                <a:ext uri="{FF2B5EF4-FFF2-40B4-BE49-F238E27FC236}">
                  <a16:creationId xmlns:a16="http://schemas.microsoft.com/office/drawing/2014/main" id="{7B9504E4-3BE4-A7CD-B077-57DADB1A60A4}"/>
                </a:ext>
              </a:extLst>
            </p:cNvPr>
            <p:cNvSpPr/>
            <p:nvPr/>
          </p:nvSpPr>
          <p:spPr>
            <a:xfrm>
              <a:off x="4659669" y="1249108"/>
              <a:ext cx="7308000" cy="307777"/>
            </a:xfrm>
            <a:prstGeom prst="rect">
              <a:avLst/>
            </a:prstGeom>
          </p:spPr>
          <p:txBody>
            <a:bodyPr wrap="square">
              <a:spAutoFit/>
            </a:bodyPr>
            <a:lstStyle/>
            <a:p>
              <a:r>
                <a:rPr kumimoji="0" lang="es-CL" sz="1400" b="1" i="0" u="none" strike="noStrike" kern="1200" cap="none" spc="0" normalizeH="0" baseline="0" noProof="0" err="1">
                  <a:ln>
                    <a:noFill/>
                  </a:ln>
                  <a:solidFill>
                    <a:schemeClr val="accent1"/>
                  </a:solidFill>
                  <a:effectLst/>
                  <a:uLnTx/>
                  <a:uFillTx/>
                  <a:latin typeface="Poppins" pitchFamily="2" charset="77"/>
                  <a:cs typeface="Poppins" pitchFamily="2" charset="77"/>
                </a:rPr>
                <a:t>Participation</a:t>
              </a:r>
              <a:r>
                <a:rPr kumimoji="0" lang="es-CL" sz="1400" b="1" i="0" u="none" strike="noStrike" kern="1200" cap="none" spc="0" normalizeH="0" baseline="0" noProof="0">
                  <a:ln>
                    <a:noFill/>
                  </a:ln>
                  <a:solidFill>
                    <a:schemeClr val="accent1"/>
                  </a:solidFill>
                  <a:effectLst/>
                  <a:uLnTx/>
                  <a:uFillTx/>
                  <a:latin typeface="Poppins" pitchFamily="2" charset="77"/>
                  <a:cs typeface="Poppins" pitchFamily="2" charset="77"/>
                </a:rPr>
                <a:t> in </a:t>
              </a:r>
              <a:r>
                <a:rPr kumimoji="0" lang="es-CL" sz="1400" b="1" i="0" u="none" strike="noStrike" kern="1200" cap="none" spc="0" normalizeH="0" baseline="0" noProof="0" err="1">
                  <a:ln>
                    <a:noFill/>
                  </a:ln>
                  <a:solidFill>
                    <a:schemeClr val="accent1"/>
                  </a:solidFill>
                  <a:effectLst/>
                  <a:uLnTx/>
                  <a:uFillTx/>
                  <a:latin typeface="Poppins" pitchFamily="2" charset="77"/>
                  <a:cs typeface="Poppins" pitchFamily="2" charset="77"/>
                </a:rPr>
                <a:t>Lollapalooza</a:t>
              </a:r>
              <a:r>
                <a:rPr kumimoji="0" lang="es-CL" sz="1400" b="1" i="0" u="none" strike="noStrike" kern="1200" cap="none" spc="0" normalizeH="0" baseline="0" noProof="0">
                  <a:ln>
                    <a:noFill/>
                  </a:ln>
                  <a:solidFill>
                    <a:schemeClr val="accent1"/>
                  </a:solidFill>
                  <a:effectLst/>
                  <a:uLnTx/>
                  <a:uFillTx/>
                  <a:latin typeface="Poppins" pitchFamily="2" charset="77"/>
                  <a:cs typeface="Poppins" pitchFamily="2" charset="77"/>
                </a:rPr>
                <a:t> Chile 2025</a:t>
              </a:r>
              <a:endParaRPr lang="es-CL" sz="2000" b="1">
                <a:solidFill>
                  <a:schemeClr val="accent1"/>
                </a:solidFill>
                <a:latin typeface="Poppins" pitchFamily="2" charset="77"/>
                <a:cs typeface="Poppins" pitchFamily="2" charset="77"/>
              </a:endParaRPr>
            </a:p>
          </p:txBody>
        </p:sp>
      </p:grpSp>
      <p:grpSp>
        <p:nvGrpSpPr>
          <p:cNvPr id="4" name="Grupo 3">
            <a:extLst>
              <a:ext uri="{FF2B5EF4-FFF2-40B4-BE49-F238E27FC236}">
                <a16:creationId xmlns:a16="http://schemas.microsoft.com/office/drawing/2014/main" id="{1C167C76-A048-94D4-D9B3-4EBEC81FDBFC}"/>
              </a:ext>
            </a:extLst>
          </p:cNvPr>
          <p:cNvGrpSpPr/>
          <p:nvPr/>
        </p:nvGrpSpPr>
        <p:grpSpPr>
          <a:xfrm>
            <a:off x="369554" y="4989433"/>
            <a:ext cx="9656948" cy="880703"/>
            <a:chOff x="4659669" y="1249108"/>
            <a:chExt cx="7308000" cy="880703"/>
          </a:xfrm>
        </p:grpSpPr>
        <p:sp>
          <p:nvSpPr>
            <p:cNvPr id="6" name="CuadroTexto 5">
              <a:extLst>
                <a:ext uri="{FF2B5EF4-FFF2-40B4-BE49-F238E27FC236}">
                  <a16:creationId xmlns:a16="http://schemas.microsoft.com/office/drawing/2014/main" id="{9E57E696-36C7-44F4-9B88-24C964FB782F}"/>
                </a:ext>
              </a:extLst>
            </p:cNvPr>
            <p:cNvSpPr txBox="1"/>
            <p:nvPr/>
          </p:nvSpPr>
          <p:spPr>
            <a:xfrm>
              <a:off x="4659669" y="1483480"/>
              <a:ext cx="7308000" cy="646331"/>
            </a:xfrm>
            <a:prstGeom prst="rect">
              <a:avLst/>
            </a:prstGeom>
            <a:noFill/>
          </p:spPr>
          <p:txBody>
            <a:bodyPr wrap="square" rtlCol="0">
              <a:spAutoFit/>
            </a:bodyPr>
            <a:lstStyle/>
            <a:p>
              <a:pPr marL="285750" indent="-285750" algn="just">
                <a:buSzPct val="130000"/>
                <a:buBlip>
                  <a:blip r:embed="rId6"/>
                </a:buBlip>
              </a:pPr>
              <a:r>
                <a:rPr lang="en-US" sz="1200">
                  <a:solidFill>
                    <a:schemeClr val="tx2"/>
                  </a:solidFill>
                  <a:latin typeface="Poppins" pitchFamily="2" charset="77"/>
                  <a:cs typeface="Poppins" pitchFamily="2" charset="77"/>
                </a:rPr>
                <a:t>During January and February, the Nonstop Summer campaign was carried out across Cenco Malls’ shopping centers, bringing together over 71,000 attendees at its main activation. </a:t>
              </a:r>
              <a:r>
                <a:rPr lang="en-US" sz="1200" b="1">
                  <a:solidFill>
                    <a:schemeClr val="tx2"/>
                  </a:solidFill>
                  <a:latin typeface="Poppins" pitchFamily="2" charset="77"/>
                  <a:cs typeface="Poppins" pitchFamily="2" charset="77"/>
                </a:rPr>
                <a:t>The initiative contributed to an increase the Customer Satisfaction Score </a:t>
              </a:r>
              <a:r>
                <a:rPr lang="en-US" sz="1200">
                  <a:solidFill>
                    <a:schemeClr val="tx2"/>
                  </a:solidFill>
                  <a:latin typeface="Poppins" pitchFamily="2" charset="77"/>
                  <a:cs typeface="Poppins" pitchFamily="2" charset="77"/>
                </a:rPr>
                <a:t>(CSAT).</a:t>
              </a:r>
              <a:endParaRPr lang="es-CL" sz="1200">
                <a:solidFill>
                  <a:schemeClr val="tx2"/>
                </a:solidFill>
                <a:latin typeface="Poppins" pitchFamily="2" charset="77"/>
                <a:cs typeface="Poppins" pitchFamily="2" charset="77"/>
              </a:endParaRPr>
            </a:p>
          </p:txBody>
        </p:sp>
        <p:sp>
          <p:nvSpPr>
            <p:cNvPr id="10" name="Rectángulo 9">
              <a:extLst>
                <a:ext uri="{FF2B5EF4-FFF2-40B4-BE49-F238E27FC236}">
                  <a16:creationId xmlns:a16="http://schemas.microsoft.com/office/drawing/2014/main" id="{590F2CCA-678F-395D-DD2C-61A3E1D091CF}"/>
                </a:ext>
              </a:extLst>
            </p:cNvPr>
            <p:cNvSpPr/>
            <p:nvPr/>
          </p:nvSpPr>
          <p:spPr>
            <a:xfrm>
              <a:off x="4659669" y="1249108"/>
              <a:ext cx="7308000" cy="307777"/>
            </a:xfrm>
            <a:prstGeom prst="rect">
              <a:avLst/>
            </a:prstGeom>
          </p:spPr>
          <p:txBody>
            <a:bodyPr wrap="square">
              <a:spAutoFit/>
            </a:bodyPr>
            <a:lstStyle/>
            <a:p>
              <a:r>
                <a:rPr kumimoji="0" lang="en-US" sz="1400" b="1" i="0" u="none" strike="noStrike" kern="1200" cap="none" spc="0" normalizeH="0" baseline="0" noProof="0">
                  <a:ln>
                    <a:noFill/>
                  </a:ln>
                  <a:solidFill>
                    <a:schemeClr val="accent1"/>
                  </a:solidFill>
                  <a:effectLst/>
                  <a:uLnTx/>
                  <a:uFillTx/>
                  <a:latin typeface="Poppins" pitchFamily="2" charset="77"/>
                  <a:cs typeface="Poppins" pitchFamily="2" charset="77"/>
                </a:rPr>
                <a:t>Nonstop Summer Campaign at Cenco Malls</a:t>
              </a:r>
              <a:endParaRPr lang="es-CL" sz="2000" b="1">
                <a:solidFill>
                  <a:schemeClr val="accent1"/>
                </a:solidFill>
                <a:latin typeface="Poppins" pitchFamily="2" charset="77"/>
                <a:cs typeface="Poppins" pitchFamily="2" charset="77"/>
              </a:endParaRPr>
            </a:p>
          </p:txBody>
        </p:sp>
      </p:grpSp>
      <p:pic>
        <p:nvPicPr>
          <p:cNvPr id="14" name="Imagen 13" descr="Una ciudad de noche con luces de colores&#10;&#10;El contenido generado por IA puede ser incorrecto.">
            <a:extLst>
              <a:ext uri="{FF2B5EF4-FFF2-40B4-BE49-F238E27FC236}">
                <a16:creationId xmlns:a16="http://schemas.microsoft.com/office/drawing/2014/main" id="{F96FB804-69B5-A2D8-F300-B17A80FFB0DA}"/>
              </a:ext>
            </a:extLst>
          </p:cNvPr>
          <p:cNvPicPr>
            <a:picLocks noChangeAspect="1"/>
          </p:cNvPicPr>
          <p:nvPr/>
        </p:nvPicPr>
        <p:blipFill>
          <a:blip r:embed="rId7"/>
          <a:srcRect t="25352"/>
          <a:stretch/>
        </p:blipFill>
        <p:spPr>
          <a:xfrm>
            <a:off x="7276154" y="803198"/>
            <a:ext cx="4638644" cy="4328312"/>
          </a:xfrm>
          <a:prstGeom prst="roundRect">
            <a:avLst>
              <a:gd name="adj" fmla="val 15193"/>
            </a:avLst>
          </a:prstGeom>
        </p:spPr>
      </p:pic>
      <p:sp>
        <p:nvSpPr>
          <p:cNvPr id="13" name="Marcador de número de diapositiva 1">
            <a:extLst>
              <a:ext uri="{FF2B5EF4-FFF2-40B4-BE49-F238E27FC236}">
                <a16:creationId xmlns:a16="http://schemas.microsoft.com/office/drawing/2014/main" id="{7CEB308A-9A6F-76C9-8312-9AC0D9E2CF86}"/>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3</a:t>
            </a:fld>
            <a:endParaRPr lang="es-CL"/>
          </a:p>
        </p:txBody>
      </p:sp>
      <p:sp>
        <p:nvSpPr>
          <p:cNvPr id="5" name="Título 1">
            <a:extLst>
              <a:ext uri="{FF2B5EF4-FFF2-40B4-BE49-F238E27FC236}">
                <a16:creationId xmlns:a16="http://schemas.microsoft.com/office/drawing/2014/main" id="{3ADF8288-50C3-DFA6-89C1-02D66CEE5BB6}"/>
              </a:ext>
            </a:extLst>
          </p:cNvPr>
          <p:cNvSpPr txBox="1">
            <a:spLocks/>
          </p:cNvSpPr>
          <p:nvPr/>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tx2"/>
                </a:solidFill>
                <a:latin typeface="Poppins" pitchFamily="2" charset="77"/>
                <a:cs typeface="Poppins" pitchFamily="2" charset="77"/>
              </a:rPr>
              <a:t>Earning</a:t>
            </a:r>
            <a:r>
              <a:rPr lang="es-MX" sz="800" b="1">
                <a:solidFill>
                  <a:schemeClr val="tx2"/>
                </a:solidFill>
                <a:latin typeface="Poppins" pitchFamily="2" charset="77"/>
                <a:cs typeface="Poppins" pitchFamily="2" charset="77"/>
              </a:rPr>
              <a:t> </a:t>
            </a:r>
            <a:r>
              <a:rPr lang="es-MX" sz="800" b="1" err="1">
                <a:solidFill>
                  <a:schemeClr val="tx2"/>
                </a:solidFill>
                <a:latin typeface="Poppins" pitchFamily="2" charset="77"/>
                <a:cs typeface="Poppins" pitchFamily="2" charset="77"/>
              </a:rPr>
              <a:t>Presentation</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First</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Quarter</a:t>
            </a:r>
            <a:r>
              <a:rPr lang="es-MX" sz="800" b="0">
                <a:solidFill>
                  <a:schemeClr val="tx2"/>
                </a:solidFill>
                <a:latin typeface="Poppins" pitchFamily="2" charset="77"/>
                <a:cs typeface="Poppins" pitchFamily="2" charset="77"/>
              </a:rPr>
              <a:t> 2025</a:t>
            </a:r>
            <a:endParaRPr lang="es-CL" sz="800" b="0">
              <a:solidFill>
                <a:schemeClr val="tx2"/>
              </a:solidFill>
              <a:latin typeface="Poppins" pitchFamily="2" charset="77"/>
              <a:cs typeface="Poppins" pitchFamily="2" charset="77"/>
            </a:endParaRPr>
          </a:p>
        </p:txBody>
      </p:sp>
    </p:spTree>
    <p:extLst>
      <p:ext uri="{BB962C8B-B14F-4D97-AF65-F5344CB8AC3E}">
        <p14:creationId xmlns:p14="http://schemas.microsoft.com/office/powerpoint/2010/main" val="13846799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6671726-3BCD-F3FA-F071-A4A61FC92580}"/>
              </a:ext>
            </a:extLst>
          </p:cNvPr>
          <p:cNvGraphicFramePr>
            <a:graphicFrameLocks noChangeAspect="1"/>
          </p:cNvGraphicFramePr>
          <p:nvPr>
            <p:custDataLst>
              <p:tags r:id="rId1"/>
            </p:custDataLst>
            <p:extLst>
              <p:ext uri="{D42A27DB-BD31-4B8C-83A1-F6EECF244321}">
                <p14:modId xmlns:p14="http://schemas.microsoft.com/office/powerpoint/2010/main" val="4247262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6" progId="TCLayout.ActiveDocument.1">
                  <p:embed/>
                </p:oleObj>
              </mc:Choice>
              <mc:Fallback>
                <p:oleObj name="Diapositiva de think-cell" r:id="rId4" imgW="395" imgH="396" progId="TCLayout.ActiveDocument.1">
                  <p:embed/>
                  <p:pic>
                    <p:nvPicPr>
                      <p:cNvPr id="7" name="think-cell data - do not delete" hidden="1">
                        <a:extLst>
                          <a:ext uri="{FF2B5EF4-FFF2-40B4-BE49-F238E27FC236}">
                            <a16:creationId xmlns:a16="http://schemas.microsoft.com/office/drawing/2014/main" id="{D6671726-3BCD-F3FA-F071-A4A61FC925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dondear rectángulo de una esquina 6">
            <a:extLst>
              <a:ext uri="{FF2B5EF4-FFF2-40B4-BE49-F238E27FC236}">
                <a16:creationId xmlns:a16="http://schemas.microsoft.com/office/drawing/2014/main" id="{203218CC-7C14-F867-0434-A85A43DA60E8}"/>
              </a:ext>
            </a:extLst>
          </p:cNvPr>
          <p:cNvSpPr/>
          <p:nvPr/>
        </p:nvSpPr>
        <p:spPr>
          <a:xfrm>
            <a:off x="204279" y="1084568"/>
            <a:ext cx="4967383" cy="4873753"/>
          </a:xfrm>
          <a:prstGeom prst="roundRect">
            <a:avLst>
              <a:gd name="adj" fmla="val 552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6" name="Imagen 5">
            <a:extLst>
              <a:ext uri="{FF2B5EF4-FFF2-40B4-BE49-F238E27FC236}">
                <a16:creationId xmlns:a16="http://schemas.microsoft.com/office/drawing/2014/main" id="{481CE02F-6539-5534-C11B-32BD309B657D}"/>
              </a:ext>
            </a:extLst>
          </p:cNvPr>
          <p:cNvPicPr>
            <a:picLocks noChangeAspect="1"/>
          </p:cNvPicPr>
          <p:nvPr/>
        </p:nvPicPr>
        <p:blipFill>
          <a:blip r:embed="rId6"/>
          <a:srcRect l="64107" t="21705" r="4686" b="33687"/>
          <a:stretch/>
        </p:blipFill>
        <p:spPr>
          <a:xfrm flipH="1">
            <a:off x="7317689" y="0"/>
            <a:ext cx="4874311" cy="6865713"/>
          </a:xfrm>
          <a:prstGeom prst="rect">
            <a:avLst/>
          </a:prstGeom>
        </p:spPr>
      </p:pic>
      <p:grpSp>
        <p:nvGrpSpPr>
          <p:cNvPr id="42" name="Grupo 41">
            <a:extLst>
              <a:ext uri="{FF2B5EF4-FFF2-40B4-BE49-F238E27FC236}">
                <a16:creationId xmlns:a16="http://schemas.microsoft.com/office/drawing/2014/main" id="{51BB093B-162B-401F-3B15-6BD52B9BF887}"/>
              </a:ext>
            </a:extLst>
          </p:cNvPr>
          <p:cNvGrpSpPr/>
          <p:nvPr/>
        </p:nvGrpSpPr>
        <p:grpSpPr>
          <a:xfrm>
            <a:off x="372568" y="1488948"/>
            <a:ext cx="4680000" cy="1593161"/>
            <a:chOff x="4659669" y="1249108"/>
            <a:chExt cx="7308000" cy="1389368"/>
          </a:xfrm>
        </p:grpSpPr>
        <p:sp>
          <p:nvSpPr>
            <p:cNvPr id="43" name="CuadroTexto 42">
              <a:extLst>
                <a:ext uri="{FF2B5EF4-FFF2-40B4-BE49-F238E27FC236}">
                  <a16:creationId xmlns:a16="http://schemas.microsoft.com/office/drawing/2014/main" id="{87716F67-2A3B-4C4B-3713-11C442A4E3F6}"/>
                </a:ext>
              </a:extLst>
            </p:cNvPr>
            <p:cNvSpPr txBox="1"/>
            <p:nvPr/>
          </p:nvSpPr>
          <p:spPr>
            <a:xfrm>
              <a:off x="4659669" y="1591690"/>
              <a:ext cx="6769888" cy="1046786"/>
            </a:xfrm>
            <a:prstGeom prst="rect">
              <a:avLst/>
            </a:prstGeom>
            <a:noFill/>
          </p:spPr>
          <p:txBody>
            <a:bodyPr wrap="square" rtlCol="0">
              <a:spAutoFit/>
            </a:bodyPr>
            <a:lstStyle/>
            <a:p>
              <a:pPr algn="just">
                <a:buSzPct val="130000"/>
              </a:pPr>
              <a:endParaRPr lang="es-CL" sz="1200">
                <a:solidFill>
                  <a:schemeClr val="tx2"/>
                </a:solidFill>
                <a:latin typeface="Poppins" pitchFamily="2" charset="77"/>
                <a:cs typeface="Poppins" pitchFamily="2" charset="77"/>
              </a:endParaRPr>
            </a:p>
            <a:p>
              <a:pPr marL="285750" indent="-285750" algn="just">
                <a:buSzPct val="130000"/>
                <a:buBlip>
                  <a:blip r:embed="rId7"/>
                </a:buBlip>
              </a:pPr>
              <a:r>
                <a:rPr lang="en-US" sz="1200">
                  <a:solidFill>
                    <a:schemeClr val="tx2"/>
                  </a:solidFill>
                  <a:latin typeface="Poppins" pitchFamily="2" charset="77"/>
                  <a:cs typeface="Poppins" pitchFamily="2" charset="77"/>
                </a:rPr>
                <a:t>At the 2025 Annual General Shareholders’ Meeting held on April 22, the shareholders’ approved the distribution of a final dividend of $116 per share, </a:t>
              </a:r>
              <a:r>
                <a:rPr lang="en-US" sz="1200" b="1">
                  <a:solidFill>
                    <a:schemeClr val="tx2"/>
                  </a:solidFill>
                  <a:latin typeface="Poppins" pitchFamily="2" charset="77"/>
                  <a:cs typeface="Poppins" pitchFamily="2" charset="77"/>
                </a:rPr>
                <a:t>representing a dividend yield of 5.7% </a:t>
              </a:r>
              <a:r>
                <a:rPr lang="en-US" sz="1200">
                  <a:solidFill>
                    <a:schemeClr val="tx2"/>
                  </a:solidFill>
                  <a:latin typeface="Poppins" pitchFamily="2" charset="77"/>
                  <a:cs typeface="Poppins" pitchFamily="2" charset="77"/>
                </a:rPr>
                <a:t>as of the announcement date.</a:t>
              </a:r>
              <a:endParaRPr lang="es-CL" sz="1200">
                <a:solidFill>
                  <a:schemeClr val="tx2"/>
                </a:solidFill>
                <a:latin typeface="Poppins" pitchFamily="2" charset="77"/>
                <a:cs typeface="Poppins" pitchFamily="2" charset="77"/>
              </a:endParaRPr>
            </a:p>
          </p:txBody>
        </p:sp>
        <p:sp>
          <p:nvSpPr>
            <p:cNvPr id="44" name="Rectángulo 43">
              <a:extLst>
                <a:ext uri="{FF2B5EF4-FFF2-40B4-BE49-F238E27FC236}">
                  <a16:creationId xmlns:a16="http://schemas.microsoft.com/office/drawing/2014/main" id="{97AF2B59-C86F-7439-3C44-F20432C0C11B}"/>
                </a:ext>
              </a:extLst>
            </p:cNvPr>
            <p:cNvSpPr/>
            <p:nvPr/>
          </p:nvSpPr>
          <p:spPr>
            <a:xfrm>
              <a:off x="4659669" y="1249108"/>
              <a:ext cx="7308000" cy="456291"/>
            </a:xfrm>
            <a:prstGeom prst="rect">
              <a:avLst/>
            </a:prstGeom>
          </p:spPr>
          <p:txBody>
            <a:bodyPr wrap="square">
              <a:spAutoFit/>
            </a:bodyPr>
            <a:lstStyle/>
            <a:p>
              <a:r>
                <a:rPr kumimoji="0" lang="en-US" sz="1400" b="1" i="0" u="none" strike="noStrike" kern="1200" cap="none" spc="0" normalizeH="0" baseline="0" noProof="0">
                  <a:ln>
                    <a:noFill/>
                  </a:ln>
                  <a:solidFill>
                    <a:schemeClr val="accent1"/>
                  </a:solidFill>
                  <a:effectLst/>
                  <a:uLnTx/>
                  <a:uFillTx/>
                  <a:latin typeface="Poppins" pitchFamily="2" charset="77"/>
                  <a:cs typeface="Poppins" pitchFamily="2" charset="77"/>
                </a:rPr>
                <a:t>Approval and Payment of Dividends Charged to 2024 Earnings</a:t>
              </a:r>
              <a:endParaRPr lang="es-CL" sz="2000" b="1">
                <a:solidFill>
                  <a:schemeClr val="accent1"/>
                </a:solidFill>
                <a:latin typeface="Poppins" pitchFamily="2" charset="77"/>
                <a:cs typeface="Poppins" pitchFamily="2" charset="77"/>
              </a:endParaRPr>
            </a:p>
          </p:txBody>
        </p:sp>
      </p:grpSp>
      <p:grpSp>
        <p:nvGrpSpPr>
          <p:cNvPr id="45" name="Grupo 44">
            <a:extLst>
              <a:ext uri="{FF2B5EF4-FFF2-40B4-BE49-F238E27FC236}">
                <a16:creationId xmlns:a16="http://schemas.microsoft.com/office/drawing/2014/main" id="{B7D84BCA-921B-6634-F751-C10140BB5490}"/>
              </a:ext>
            </a:extLst>
          </p:cNvPr>
          <p:cNvGrpSpPr/>
          <p:nvPr/>
        </p:nvGrpSpPr>
        <p:grpSpPr>
          <a:xfrm>
            <a:off x="372568" y="3240071"/>
            <a:ext cx="4680000" cy="1348517"/>
            <a:chOff x="4641978" y="2074412"/>
            <a:chExt cx="5475300" cy="1348517"/>
          </a:xfrm>
        </p:grpSpPr>
        <p:sp>
          <p:nvSpPr>
            <p:cNvPr id="46" name="Rectángulo 45">
              <a:extLst>
                <a:ext uri="{FF2B5EF4-FFF2-40B4-BE49-F238E27FC236}">
                  <a16:creationId xmlns:a16="http://schemas.microsoft.com/office/drawing/2014/main" id="{6CF2148B-1245-E063-CBD3-279477D30C4D}"/>
                </a:ext>
              </a:extLst>
            </p:cNvPr>
            <p:cNvSpPr/>
            <p:nvPr/>
          </p:nvSpPr>
          <p:spPr>
            <a:xfrm>
              <a:off x="4641978" y="2074412"/>
              <a:ext cx="5475300" cy="307777"/>
            </a:xfrm>
            <a:prstGeom prst="rect">
              <a:avLst/>
            </a:prstGeom>
          </p:spPr>
          <p:txBody>
            <a:bodyPr wrap="square">
              <a:spAutoFit/>
            </a:bodyPr>
            <a:lstStyle/>
            <a:p>
              <a:r>
                <a:rPr kumimoji="0" lang="en-US" sz="1400" b="1" i="0" u="none" strike="noStrike" kern="1200" cap="none" spc="0" normalizeH="0" baseline="0" noProof="0">
                  <a:ln>
                    <a:noFill/>
                  </a:ln>
                  <a:solidFill>
                    <a:schemeClr val="accent1"/>
                  </a:solidFill>
                  <a:effectLst/>
                  <a:uLnTx/>
                  <a:uFillTx/>
                  <a:latin typeface="Poppins" pitchFamily="2" charset="77"/>
                  <a:cs typeface="Poppins" pitchFamily="2" charset="77"/>
                </a:rPr>
                <a:t>Publication of 2024 Integrated Annual Report</a:t>
              </a:r>
              <a:endParaRPr lang="es-CL" sz="2000" b="1">
                <a:solidFill>
                  <a:schemeClr val="accent1"/>
                </a:solidFill>
                <a:latin typeface="Poppins" pitchFamily="2" charset="77"/>
                <a:cs typeface="Poppins" pitchFamily="2" charset="77"/>
              </a:endParaRPr>
            </a:p>
          </p:txBody>
        </p:sp>
        <p:sp>
          <p:nvSpPr>
            <p:cNvPr id="47" name="CuadroTexto 46">
              <a:extLst>
                <a:ext uri="{FF2B5EF4-FFF2-40B4-BE49-F238E27FC236}">
                  <a16:creationId xmlns:a16="http://schemas.microsoft.com/office/drawing/2014/main" id="{6FC4168F-0FE8-6BF4-D308-2C115049FF3D}"/>
                </a:ext>
              </a:extLst>
            </p:cNvPr>
            <p:cNvSpPr txBox="1"/>
            <p:nvPr/>
          </p:nvSpPr>
          <p:spPr>
            <a:xfrm>
              <a:off x="4650824" y="2407266"/>
              <a:ext cx="4997179" cy="1015663"/>
            </a:xfrm>
            <a:prstGeom prst="rect">
              <a:avLst/>
            </a:prstGeom>
            <a:noFill/>
          </p:spPr>
          <p:txBody>
            <a:bodyPr wrap="square" rtlCol="0">
              <a:spAutoFit/>
            </a:bodyPr>
            <a:lstStyle/>
            <a:p>
              <a:pPr marL="285750" indent="-285750" algn="just">
                <a:buSzPct val="130000"/>
                <a:buBlip>
                  <a:blip r:embed="rId7"/>
                </a:buBlip>
              </a:pPr>
              <a:r>
                <a:rPr lang="en-US" sz="1200">
                  <a:solidFill>
                    <a:schemeClr val="tx2"/>
                  </a:solidFill>
                  <a:latin typeface="Poppins" pitchFamily="2" charset="77"/>
                  <a:cs typeface="Poppins" pitchFamily="2" charset="77"/>
                </a:rPr>
                <a:t>In April, the Company release the 2024 Integrated Annual Report, </a:t>
              </a:r>
              <a:r>
                <a:rPr lang="en-US" sz="1200" b="1">
                  <a:solidFill>
                    <a:schemeClr val="tx2"/>
                  </a:solidFill>
                  <a:latin typeface="Poppins" pitchFamily="2" charset="77"/>
                  <a:cs typeface="Poppins" pitchFamily="2" charset="77"/>
                </a:rPr>
                <a:t>outlining the Company’s progress in financial, environmental, social, and governance </a:t>
              </a:r>
              <a:r>
                <a:rPr lang="en-US" sz="1200">
                  <a:solidFill>
                    <a:schemeClr val="tx2"/>
                  </a:solidFill>
                  <a:latin typeface="Poppins" pitchFamily="2" charset="77"/>
                  <a:cs typeface="Poppins" pitchFamily="2" charset="77"/>
                </a:rPr>
                <a:t>(ESG) performance, reflecting the commitment to sustainable management.</a:t>
              </a:r>
              <a:endParaRPr lang="es-CL" sz="1200">
                <a:solidFill>
                  <a:schemeClr val="tx2"/>
                </a:solidFill>
                <a:latin typeface="Poppins" pitchFamily="2" charset="77"/>
                <a:cs typeface="Poppins" pitchFamily="2" charset="77"/>
              </a:endParaRPr>
            </a:p>
          </p:txBody>
        </p:sp>
      </p:grpSp>
      <p:pic>
        <p:nvPicPr>
          <p:cNvPr id="24" name="Imagen 23">
            <a:extLst>
              <a:ext uri="{FF2B5EF4-FFF2-40B4-BE49-F238E27FC236}">
                <a16:creationId xmlns:a16="http://schemas.microsoft.com/office/drawing/2014/main" id="{6F7D000E-FB52-C236-9D3B-1FB9AFBF0340}"/>
              </a:ext>
            </a:extLst>
          </p:cNvPr>
          <p:cNvPicPr>
            <a:picLocks noChangeAspect="1"/>
          </p:cNvPicPr>
          <p:nvPr/>
        </p:nvPicPr>
        <p:blipFill>
          <a:blip r:embed="rId8"/>
          <a:stretch>
            <a:fillRect/>
          </a:stretch>
        </p:blipFill>
        <p:spPr>
          <a:xfrm>
            <a:off x="10071935" y="242386"/>
            <a:ext cx="1905000" cy="445738"/>
          </a:xfrm>
          <a:prstGeom prst="rect">
            <a:avLst/>
          </a:prstGeom>
        </p:spPr>
      </p:pic>
      <p:pic>
        <p:nvPicPr>
          <p:cNvPr id="9" name="Imagen 8" descr="Vista de una ciudad en la montaña&#10;&#10;El contenido generado por IA puede ser incorrecto.">
            <a:extLst>
              <a:ext uri="{FF2B5EF4-FFF2-40B4-BE49-F238E27FC236}">
                <a16:creationId xmlns:a16="http://schemas.microsoft.com/office/drawing/2014/main" id="{3116BEFE-B2C4-28A8-4FFC-CAC9DA66F144}"/>
              </a:ext>
            </a:extLst>
          </p:cNvPr>
          <p:cNvPicPr>
            <a:picLocks noChangeAspect="1"/>
          </p:cNvPicPr>
          <p:nvPr/>
        </p:nvPicPr>
        <p:blipFill>
          <a:blip r:embed="rId9"/>
          <a:srcRect l="10125" r="9787"/>
          <a:stretch/>
        </p:blipFill>
        <p:spPr>
          <a:xfrm>
            <a:off x="5411595" y="1084570"/>
            <a:ext cx="5858540" cy="4873752"/>
          </a:xfrm>
          <a:prstGeom prst="roundRect">
            <a:avLst>
              <a:gd name="adj" fmla="val 7504"/>
            </a:avLst>
          </a:prstGeom>
        </p:spPr>
      </p:pic>
      <p:sp>
        <p:nvSpPr>
          <p:cNvPr id="2" name="CuadroTexto 1">
            <a:extLst>
              <a:ext uri="{FF2B5EF4-FFF2-40B4-BE49-F238E27FC236}">
                <a16:creationId xmlns:a16="http://schemas.microsoft.com/office/drawing/2014/main" id="{AD2024DD-5059-3981-81C8-78436725D49E}"/>
              </a:ext>
            </a:extLst>
          </p:cNvPr>
          <p:cNvSpPr txBox="1"/>
          <p:nvPr/>
        </p:nvSpPr>
        <p:spPr>
          <a:xfrm>
            <a:off x="491795" y="207049"/>
            <a:ext cx="9218201" cy="553998"/>
          </a:xfrm>
          <a:prstGeom prst="rect">
            <a:avLst/>
          </a:prstGeom>
          <a:noFill/>
        </p:spPr>
        <p:txBody>
          <a:bodyPr wrap="square" rtlCol="0">
            <a:spAutoFit/>
          </a:bodyPr>
          <a:lstStyle/>
          <a:p>
            <a:r>
              <a:rPr lang="es-CL" sz="3000" b="1">
                <a:solidFill>
                  <a:schemeClr val="accent3"/>
                </a:solidFill>
                <a:latin typeface="Poppins" pitchFamily="2" charset="77"/>
                <a:cs typeface="Poppins" pitchFamily="2" charset="77"/>
              </a:rPr>
              <a:t>1.2</a:t>
            </a:r>
            <a:r>
              <a:rPr lang="es-CL" sz="3000" b="1">
                <a:solidFill>
                  <a:schemeClr val="accent2"/>
                </a:solidFill>
                <a:latin typeface="Poppins" pitchFamily="2" charset="77"/>
                <a:cs typeface="Poppins" pitchFamily="2" charset="77"/>
              </a:rPr>
              <a:t> </a:t>
            </a:r>
            <a:r>
              <a:rPr lang="es-CL" sz="3000" b="1" err="1">
                <a:solidFill>
                  <a:srgbClr val="021766"/>
                </a:solidFill>
                <a:latin typeface="Poppins" pitchFamily="2" charset="77"/>
                <a:cs typeface="Poppins" pitchFamily="2" charset="77"/>
              </a:rPr>
              <a:t>Events</a:t>
            </a:r>
            <a:r>
              <a:rPr lang="es-CL" sz="3000" b="1">
                <a:solidFill>
                  <a:srgbClr val="021766"/>
                </a:solidFill>
                <a:latin typeface="Poppins" pitchFamily="2" charset="77"/>
                <a:cs typeface="Poppins" pitchFamily="2" charset="77"/>
              </a:rPr>
              <a:t> After </a:t>
            </a:r>
            <a:r>
              <a:rPr lang="es-CL" sz="3000" b="1" err="1">
                <a:solidFill>
                  <a:srgbClr val="021766"/>
                </a:solidFill>
                <a:latin typeface="Poppins" pitchFamily="2" charset="77"/>
                <a:cs typeface="Poppins" pitchFamily="2" charset="77"/>
              </a:rPr>
              <a:t>Quarter-End</a:t>
            </a:r>
            <a:endParaRPr lang="es-CL" sz="3000" b="1">
              <a:solidFill>
                <a:srgbClr val="021766"/>
              </a:solidFill>
              <a:latin typeface="Poppins" pitchFamily="2" charset="77"/>
              <a:cs typeface="Poppins" pitchFamily="2" charset="77"/>
            </a:endParaRPr>
          </a:p>
        </p:txBody>
      </p:sp>
      <p:sp>
        <p:nvSpPr>
          <p:cNvPr id="3" name="Marcador de número de diapositiva 1">
            <a:extLst>
              <a:ext uri="{FF2B5EF4-FFF2-40B4-BE49-F238E27FC236}">
                <a16:creationId xmlns:a16="http://schemas.microsoft.com/office/drawing/2014/main" id="{1C9BC4CF-776E-F69E-D394-53779165A399}"/>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4</a:t>
            </a:fld>
            <a:endParaRPr lang="es-CL"/>
          </a:p>
        </p:txBody>
      </p:sp>
      <p:sp>
        <p:nvSpPr>
          <p:cNvPr id="4" name="Título 1">
            <a:extLst>
              <a:ext uri="{FF2B5EF4-FFF2-40B4-BE49-F238E27FC236}">
                <a16:creationId xmlns:a16="http://schemas.microsoft.com/office/drawing/2014/main" id="{26962C5D-763F-51F6-F12D-88D82C3DF259}"/>
              </a:ext>
            </a:extLst>
          </p:cNvPr>
          <p:cNvSpPr txBox="1">
            <a:spLocks/>
          </p:cNvSpPr>
          <p:nvPr/>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tx2"/>
                </a:solidFill>
                <a:latin typeface="Poppins" pitchFamily="2" charset="77"/>
                <a:cs typeface="Poppins" pitchFamily="2" charset="77"/>
              </a:rPr>
              <a:t>Earning</a:t>
            </a:r>
            <a:r>
              <a:rPr lang="es-MX" sz="800" b="1">
                <a:solidFill>
                  <a:schemeClr val="tx2"/>
                </a:solidFill>
                <a:latin typeface="Poppins" pitchFamily="2" charset="77"/>
                <a:cs typeface="Poppins" pitchFamily="2" charset="77"/>
              </a:rPr>
              <a:t> </a:t>
            </a:r>
            <a:r>
              <a:rPr lang="es-MX" sz="800" b="1" err="1">
                <a:solidFill>
                  <a:schemeClr val="tx2"/>
                </a:solidFill>
                <a:latin typeface="Poppins" pitchFamily="2" charset="77"/>
                <a:cs typeface="Poppins" pitchFamily="2" charset="77"/>
              </a:rPr>
              <a:t>Presentation</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First</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Quarter</a:t>
            </a:r>
            <a:r>
              <a:rPr lang="es-MX" sz="800" b="0">
                <a:solidFill>
                  <a:schemeClr val="tx2"/>
                </a:solidFill>
                <a:latin typeface="Poppins" pitchFamily="2" charset="77"/>
                <a:cs typeface="Poppins" pitchFamily="2" charset="77"/>
              </a:rPr>
              <a:t> 2025</a:t>
            </a:r>
            <a:endParaRPr lang="es-CL" sz="800" b="0">
              <a:solidFill>
                <a:schemeClr val="tx2"/>
              </a:solidFill>
              <a:latin typeface="Poppins" pitchFamily="2" charset="77"/>
              <a:cs typeface="Poppins" pitchFamily="2" charset="77"/>
            </a:endParaRPr>
          </a:p>
        </p:txBody>
      </p:sp>
    </p:spTree>
    <p:extLst>
      <p:ext uri="{BB962C8B-B14F-4D97-AF65-F5344CB8AC3E}">
        <p14:creationId xmlns:p14="http://schemas.microsoft.com/office/powerpoint/2010/main" val="2309134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a:extLst>
              <a:ext uri="{FF2B5EF4-FFF2-40B4-BE49-F238E27FC236}">
                <a16:creationId xmlns:a16="http://schemas.microsoft.com/office/drawing/2014/main" id="{77EAC53D-2C33-D4AC-61A0-7AE87A4D29A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699" t="8149" r="4629" b="28284"/>
          <a:stretch/>
        </p:blipFill>
        <p:spPr>
          <a:xfrm>
            <a:off x="7082118" y="851647"/>
            <a:ext cx="5109882" cy="6082453"/>
          </a:xfrm>
          <a:prstGeom prst="rect">
            <a:avLst/>
          </a:prstGeom>
        </p:spPr>
      </p:pic>
      <p:grpSp>
        <p:nvGrpSpPr>
          <p:cNvPr id="40" name="Grupo 39">
            <a:extLst>
              <a:ext uri="{FF2B5EF4-FFF2-40B4-BE49-F238E27FC236}">
                <a16:creationId xmlns:a16="http://schemas.microsoft.com/office/drawing/2014/main" id="{F1399A61-1004-2466-894B-E10BB558202E}"/>
              </a:ext>
            </a:extLst>
          </p:cNvPr>
          <p:cNvGrpSpPr/>
          <p:nvPr/>
        </p:nvGrpSpPr>
        <p:grpSpPr>
          <a:xfrm>
            <a:off x="282113" y="1083714"/>
            <a:ext cx="6800004" cy="1199204"/>
            <a:chOff x="4652384" y="1220605"/>
            <a:chExt cx="7394956" cy="1270933"/>
          </a:xfrm>
        </p:grpSpPr>
        <p:sp>
          <p:nvSpPr>
            <p:cNvPr id="41" name="CuadroTexto 40">
              <a:extLst>
                <a:ext uri="{FF2B5EF4-FFF2-40B4-BE49-F238E27FC236}">
                  <a16:creationId xmlns:a16="http://schemas.microsoft.com/office/drawing/2014/main" id="{23AA03E7-73A1-8E58-D563-FB6EB5C2D097}"/>
                </a:ext>
              </a:extLst>
            </p:cNvPr>
            <p:cNvSpPr txBox="1"/>
            <p:nvPr/>
          </p:nvSpPr>
          <p:spPr>
            <a:xfrm>
              <a:off x="4652384" y="1725000"/>
              <a:ext cx="7394956" cy="766538"/>
            </a:xfrm>
            <a:prstGeom prst="rect">
              <a:avLst/>
            </a:prstGeom>
            <a:noFill/>
          </p:spPr>
          <p:txBody>
            <a:bodyPr wrap="square" rtlCol="0">
              <a:spAutoFit/>
            </a:bodyPr>
            <a:lstStyle/>
            <a:p>
              <a:pPr marL="285750" indent="-285750" algn="just">
                <a:spcBef>
                  <a:spcPts val="600"/>
                </a:spcBef>
                <a:buSzPct val="130000"/>
                <a:buBlip>
                  <a:blip r:embed="rId4"/>
                </a:buBlip>
              </a:pPr>
              <a:r>
                <a:rPr lang="en-US" sz="1200">
                  <a:solidFill>
                    <a:schemeClr val="tx2"/>
                  </a:solidFill>
                  <a:latin typeface="Poppins" pitchFamily="2" charset="77"/>
                  <a:cs typeface="Poppins" pitchFamily="2" charset="77"/>
                </a:rPr>
                <a:t>The Environmental Impact Declaration (DIA) was approved on March 26, enabling construction to begin in 2Q25.</a:t>
              </a:r>
            </a:p>
            <a:p>
              <a:pPr marL="285750" indent="-285750" algn="just">
                <a:spcBef>
                  <a:spcPts val="600"/>
                </a:spcBef>
                <a:buSzPct val="130000"/>
                <a:buBlip>
                  <a:blip r:embed="rId4"/>
                </a:buBlip>
              </a:pPr>
              <a:r>
                <a:rPr lang="en-US" sz="1200">
                  <a:solidFill>
                    <a:schemeClr val="tx2"/>
                  </a:solidFill>
                  <a:latin typeface="Poppins" pitchFamily="2" charset="77"/>
                  <a:cs typeface="Poppins" pitchFamily="2" charset="77"/>
                </a:rPr>
                <a:t>The project will add over 16,700 sqm of GLA distributed across 4 levels.</a:t>
              </a:r>
              <a:endParaRPr lang="es-CL" sz="1200">
                <a:solidFill>
                  <a:schemeClr val="tx2"/>
                </a:solidFill>
                <a:latin typeface="Poppins" pitchFamily="2" charset="77"/>
                <a:cs typeface="Poppins" pitchFamily="2" charset="77"/>
              </a:endParaRPr>
            </a:p>
          </p:txBody>
        </p:sp>
        <p:sp>
          <p:nvSpPr>
            <p:cNvPr id="42" name="Rectángulo 41">
              <a:extLst>
                <a:ext uri="{FF2B5EF4-FFF2-40B4-BE49-F238E27FC236}">
                  <a16:creationId xmlns:a16="http://schemas.microsoft.com/office/drawing/2014/main" id="{CD58B6AB-7C4F-757F-3F5D-50DF89E2ACFD}"/>
                </a:ext>
              </a:extLst>
            </p:cNvPr>
            <p:cNvSpPr/>
            <p:nvPr/>
          </p:nvSpPr>
          <p:spPr>
            <a:xfrm>
              <a:off x="4659669" y="1220605"/>
              <a:ext cx="7308000" cy="489279"/>
            </a:xfrm>
            <a:prstGeom prst="rect">
              <a:avLst/>
            </a:prstGeom>
          </p:spPr>
          <p:txBody>
            <a:bodyPr wrap="square">
              <a:spAutoFit/>
            </a:bodyPr>
            <a:lstStyle/>
            <a:p>
              <a:pPr algn="just">
                <a:buNone/>
              </a:pPr>
              <a:r>
                <a:rPr lang="es-CL" sz="1200" b="1" kern="0">
                  <a:solidFill>
                    <a:srgbClr val="8200FE"/>
                  </a:solidFill>
                  <a:effectLst/>
                  <a:latin typeface="Poppins" panose="00000500000000000000" pitchFamily="2" charset="0"/>
                  <a:ea typeface="Times New Roman" panose="02020603050405020304" pitchFamily="18" charset="0"/>
                  <a:cs typeface="Arial" panose="020B0604020202020204" pitchFamily="34" charset="0"/>
                </a:rPr>
                <a:t>Cenco Temuco</a:t>
              </a:r>
              <a:endParaRPr lang="es-CL" sz="1200" kern="100">
                <a:effectLst/>
                <a:latin typeface="Calibri" panose="020F0502020204030204" pitchFamily="34" charset="0"/>
                <a:ea typeface="Calibri" panose="020F0502020204030204" pitchFamily="34" charset="0"/>
                <a:cs typeface="Arial" panose="020B0604020202020204" pitchFamily="34" charset="0"/>
              </a:endParaRPr>
            </a:p>
            <a:p>
              <a:pPr algn="just"/>
              <a:r>
                <a:rPr lang="en-US" sz="1200" b="1" kern="100">
                  <a:solidFill>
                    <a:srgbClr val="002060"/>
                  </a:solidFill>
                  <a:effectLst/>
                  <a:latin typeface="Montserrat" panose="00000500000000000000" pitchFamily="2" charset="0"/>
                  <a:ea typeface="Calibri" panose="020F0502020204030204" pitchFamily="34" charset="0"/>
                  <a:cs typeface="Arial" panose="020B0604020202020204" pitchFamily="34" charset="0"/>
                </a:rPr>
                <a:t>Approval of Environmental Impact Declaration (DIA) for Expansion</a:t>
              </a:r>
              <a:endParaRPr lang="es-CL" sz="1200" kern="100">
                <a:effectLst/>
                <a:latin typeface="Calibri" panose="020F0502020204030204" pitchFamily="34" charset="0"/>
                <a:ea typeface="Calibri" panose="020F0502020204030204" pitchFamily="34" charset="0"/>
                <a:cs typeface="Arial" panose="020B0604020202020204" pitchFamily="34" charset="0"/>
              </a:endParaRPr>
            </a:p>
          </p:txBody>
        </p:sp>
      </p:grpSp>
      <p:grpSp>
        <p:nvGrpSpPr>
          <p:cNvPr id="43" name="Grupo 42">
            <a:extLst>
              <a:ext uri="{FF2B5EF4-FFF2-40B4-BE49-F238E27FC236}">
                <a16:creationId xmlns:a16="http://schemas.microsoft.com/office/drawing/2014/main" id="{DF4BFE7D-B5A0-86D6-9C23-12300FC8F0E6}"/>
              </a:ext>
            </a:extLst>
          </p:cNvPr>
          <p:cNvGrpSpPr/>
          <p:nvPr/>
        </p:nvGrpSpPr>
        <p:grpSpPr>
          <a:xfrm>
            <a:off x="279847" y="2465784"/>
            <a:ext cx="6802271" cy="2620217"/>
            <a:chOff x="4659669" y="1301692"/>
            <a:chExt cx="7397421" cy="2776946"/>
          </a:xfrm>
        </p:grpSpPr>
        <p:sp>
          <p:nvSpPr>
            <p:cNvPr id="44" name="CuadroTexto 43">
              <a:extLst>
                <a:ext uri="{FF2B5EF4-FFF2-40B4-BE49-F238E27FC236}">
                  <a16:creationId xmlns:a16="http://schemas.microsoft.com/office/drawing/2014/main" id="{71D217CB-DB8D-9399-7DF9-8B36928AEFB0}"/>
                </a:ext>
              </a:extLst>
            </p:cNvPr>
            <p:cNvSpPr txBox="1"/>
            <p:nvPr/>
          </p:nvSpPr>
          <p:spPr>
            <a:xfrm>
              <a:off x="4659669" y="1779024"/>
              <a:ext cx="7397421" cy="2299614"/>
            </a:xfrm>
            <a:prstGeom prst="rect">
              <a:avLst/>
            </a:prstGeom>
            <a:noFill/>
          </p:spPr>
          <p:txBody>
            <a:bodyPr wrap="square" rtlCol="0">
              <a:spAutoFit/>
            </a:bodyPr>
            <a:lstStyle/>
            <a:p>
              <a:pPr marL="285750" indent="-285750" algn="just">
                <a:buSzPct val="130000"/>
                <a:buBlip>
                  <a:blip r:embed="rId4"/>
                </a:buBlip>
              </a:pPr>
              <a:r>
                <a:rPr lang="en-US" sz="1200" dirty="0">
                  <a:solidFill>
                    <a:schemeClr val="tx2"/>
                  </a:solidFill>
                  <a:latin typeface="Poppins" pitchFamily="2" charset="77"/>
                  <a:cs typeface="Poppins" pitchFamily="2" charset="77"/>
                </a:rPr>
                <a:t>Partial opening of the corridor of the new Ex Paris Gallery, providing a new access from Vitacura street and allowing a better monetization of the area. </a:t>
              </a:r>
            </a:p>
            <a:p>
              <a:pPr marL="285750" indent="-285750" algn="just">
                <a:buSzPct val="130000"/>
                <a:buBlip>
                  <a:blip r:embed="rId4"/>
                </a:buBlip>
              </a:pPr>
              <a:r>
                <a:rPr lang="en-US" sz="1200" dirty="0">
                  <a:solidFill>
                    <a:schemeClr val="tx2"/>
                  </a:solidFill>
                  <a:latin typeface="Poppins" pitchFamily="2" charset="77"/>
                  <a:cs typeface="Poppins" pitchFamily="2" charset="77"/>
                </a:rPr>
                <a:t>The stores will continue opening during the second half of 2025.</a:t>
              </a:r>
            </a:p>
            <a:p>
              <a:pPr algn="just">
                <a:buSzPct val="130000"/>
              </a:pPr>
              <a:endParaRPr lang="es-CL" sz="1200" b="1" dirty="0">
                <a:solidFill>
                  <a:schemeClr val="tx2"/>
                </a:solidFill>
                <a:latin typeface="Poppins" pitchFamily="2" charset="77"/>
                <a:cs typeface="Poppins" pitchFamily="2" charset="77"/>
              </a:endParaRPr>
            </a:p>
            <a:p>
              <a:pPr algn="just">
                <a:buSzPct val="130000"/>
              </a:pPr>
              <a:r>
                <a:rPr lang="en-US" sz="1200" b="1" kern="100" dirty="0">
                  <a:solidFill>
                    <a:srgbClr val="002060"/>
                  </a:solidFill>
                  <a:latin typeface="Montserrat" panose="00000500000000000000" pitchFamily="2" charset="0"/>
                  <a:cs typeface="Arial" panose="020B0604020202020204" pitchFamily="34" charset="0"/>
                </a:rPr>
                <a:t>Progress on 5</a:t>
              </a:r>
              <a:r>
                <a:rPr lang="en-US" sz="1200" b="1" kern="100" baseline="30000" dirty="0">
                  <a:solidFill>
                    <a:srgbClr val="002060"/>
                  </a:solidFill>
                  <a:latin typeface="Montserrat" panose="00000500000000000000" pitchFamily="2" charset="0"/>
                  <a:cs typeface="Arial" panose="020B0604020202020204" pitchFamily="34" charset="0"/>
                </a:rPr>
                <a:t>th</a:t>
              </a:r>
              <a:r>
                <a:rPr lang="en-US" sz="1200" b="1" kern="100" dirty="0">
                  <a:solidFill>
                    <a:srgbClr val="002060"/>
                  </a:solidFill>
                  <a:latin typeface="Montserrat" panose="00000500000000000000" pitchFamily="2" charset="0"/>
                  <a:cs typeface="Arial" panose="020B0604020202020204" pitchFamily="34" charset="0"/>
                </a:rPr>
                <a:t> Floor Gastronomic Area</a:t>
              </a:r>
            </a:p>
            <a:p>
              <a:pPr marL="285750" indent="-285750" algn="just">
                <a:spcBef>
                  <a:spcPts val="600"/>
                </a:spcBef>
                <a:buSzPct val="130000"/>
                <a:buBlip>
                  <a:blip r:embed="rId4"/>
                </a:buBlip>
              </a:pPr>
              <a:r>
                <a:rPr lang="es-CL" sz="1200" b="1" kern="100" dirty="0">
                  <a:solidFill>
                    <a:srgbClr val="002060"/>
                  </a:solidFill>
                  <a:latin typeface="Montserrat" panose="00000500000000000000" pitchFamily="2" charset="0"/>
                  <a:cs typeface="Arial" panose="020B0604020202020204" pitchFamily="34" charset="0"/>
                </a:rPr>
                <a:t>Andrés Bello Tower:</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Tenant</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fit-outs</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have</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begun</a:t>
              </a:r>
              <a:r>
                <a:rPr lang="es-CL" sz="1200" dirty="0">
                  <a:solidFill>
                    <a:schemeClr val="tx2"/>
                  </a:solidFill>
                  <a:latin typeface="Poppins" pitchFamily="2" charset="77"/>
                  <a:cs typeface="Poppins" pitchFamily="2" charset="77"/>
                </a:rPr>
                <a:t> in </a:t>
              </a:r>
              <a:r>
                <a:rPr lang="es-CL" sz="1200" dirty="0" err="1">
                  <a:solidFill>
                    <a:schemeClr val="tx2"/>
                  </a:solidFill>
                  <a:latin typeface="Poppins" pitchFamily="2" charset="77"/>
                  <a:cs typeface="Poppins" pitchFamily="2" charset="77"/>
                </a:rPr>
                <a:t>the</a:t>
              </a:r>
              <a:r>
                <a:rPr lang="es-CL" sz="1200" dirty="0">
                  <a:solidFill>
                    <a:schemeClr val="tx2"/>
                  </a:solidFill>
                  <a:latin typeface="Poppins" pitchFamily="2" charset="77"/>
                  <a:cs typeface="Poppins" pitchFamily="2" charset="77"/>
                </a:rPr>
                <a:t> new </a:t>
              </a:r>
              <a:r>
                <a:rPr lang="es-CL" sz="1200" dirty="0" err="1">
                  <a:solidFill>
                    <a:schemeClr val="tx2"/>
                  </a:solidFill>
                  <a:latin typeface="Poppins" pitchFamily="2" charset="77"/>
                  <a:cs typeface="Poppins" pitchFamily="2" charset="77"/>
                </a:rPr>
                <a:t>gastronomic</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hub</a:t>
              </a:r>
              <a:r>
                <a:rPr lang="es-CL" sz="1200" dirty="0">
                  <a:solidFill>
                    <a:schemeClr val="tx2"/>
                  </a:solidFill>
                  <a:latin typeface="Poppins" pitchFamily="2" charset="77"/>
                  <a:cs typeface="Poppins" pitchFamily="2" charset="77"/>
                </a:rPr>
                <a:t> (3,190 </a:t>
              </a:r>
              <a:r>
                <a:rPr lang="es-CL" sz="1200" dirty="0" err="1">
                  <a:solidFill>
                    <a:schemeClr val="tx2"/>
                  </a:solidFill>
                  <a:latin typeface="Poppins" pitchFamily="2" charset="77"/>
                  <a:cs typeface="Poppins" pitchFamily="2" charset="77"/>
                </a:rPr>
                <a:t>sqm</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with</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an</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estimated</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opening</a:t>
              </a:r>
              <a:r>
                <a:rPr lang="es-CL" sz="1200" dirty="0">
                  <a:solidFill>
                    <a:schemeClr val="tx2"/>
                  </a:solidFill>
                  <a:latin typeface="Poppins" pitchFamily="2" charset="77"/>
                  <a:cs typeface="Poppins" pitchFamily="2" charset="77"/>
                </a:rPr>
                <a:t> in 2H25.</a:t>
              </a:r>
            </a:p>
            <a:p>
              <a:pPr marL="285750" indent="-285750" algn="just">
                <a:spcBef>
                  <a:spcPts val="600"/>
                </a:spcBef>
                <a:buSzPct val="130000"/>
                <a:buBlip>
                  <a:blip r:embed="rId4"/>
                </a:buBlip>
              </a:pPr>
              <a:r>
                <a:rPr lang="es-CL" sz="1200" b="1" kern="100" dirty="0">
                  <a:solidFill>
                    <a:srgbClr val="002060"/>
                  </a:solidFill>
                  <a:latin typeface="Montserrat" panose="00000500000000000000" pitchFamily="2" charset="0"/>
                  <a:cs typeface="Arial" panose="020B0604020202020204" pitchFamily="34" charset="0"/>
                </a:rPr>
                <a:t>Vitacura Tower:</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Opening</a:t>
              </a:r>
              <a:r>
                <a:rPr lang="es-CL" sz="1200" dirty="0">
                  <a:solidFill>
                    <a:schemeClr val="tx2"/>
                  </a:solidFill>
                  <a:latin typeface="Poppins" pitchFamily="2" charset="77"/>
                  <a:cs typeface="Poppins" pitchFamily="2" charset="77"/>
                </a:rPr>
                <a:t> new restaurants, </a:t>
              </a:r>
              <a:r>
                <a:rPr lang="es-CL" sz="1200" dirty="0" err="1">
                  <a:solidFill>
                    <a:schemeClr val="tx2"/>
                  </a:solidFill>
                  <a:latin typeface="Poppins" pitchFamily="2" charset="77"/>
                  <a:cs typeface="Poppins" pitchFamily="2" charset="77"/>
                </a:rPr>
                <a:t>enriching</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the</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mall’s</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culinary</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offering</a:t>
              </a:r>
              <a:r>
                <a:rPr lang="es-CL" sz="1200" dirty="0">
                  <a:solidFill>
                    <a:schemeClr val="tx2"/>
                  </a:solidFill>
                  <a:latin typeface="Poppins" pitchFamily="2" charset="77"/>
                  <a:cs typeface="Poppins" pitchFamily="2" charset="77"/>
                </a:rPr>
                <a:t>.</a:t>
              </a:r>
            </a:p>
            <a:p>
              <a:pPr marL="285750" indent="-285750" algn="just">
                <a:spcBef>
                  <a:spcPts val="600"/>
                </a:spcBef>
                <a:buSzPct val="130000"/>
                <a:buBlip>
                  <a:blip r:embed="rId4"/>
                </a:buBlip>
              </a:pPr>
              <a:r>
                <a:rPr lang="es-CL" sz="1200" b="1" kern="100" dirty="0">
                  <a:solidFill>
                    <a:srgbClr val="002060"/>
                  </a:solidFill>
                  <a:latin typeface="Montserrat" panose="00000500000000000000" pitchFamily="2" charset="0"/>
                  <a:cs typeface="Arial" panose="020B0604020202020204" pitchFamily="34" charset="0"/>
                </a:rPr>
                <a:t>Winter </a:t>
              </a:r>
              <a:r>
                <a:rPr lang="es-CL" sz="1200" b="1" kern="100" dirty="0" err="1">
                  <a:solidFill>
                    <a:srgbClr val="002060"/>
                  </a:solidFill>
                  <a:latin typeface="Montserrat" panose="00000500000000000000" pitchFamily="2" charset="0"/>
                  <a:cs typeface="Arial" panose="020B0604020202020204" pitchFamily="34" charset="0"/>
                </a:rPr>
                <a:t>Garten</a:t>
              </a:r>
              <a:r>
                <a:rPr lang="es-CL" sz="1200" b="1" kern="100" dirty="0">
                  <a:solidFill>
                    <a:srgbClr val="002060"/>
                  </a:solidFill>
                  <a:latin typeface="Montserrat" panose="00000500000000000000" pitchFamily="2" charset="0"/>
                  <a:cs typeface="Arial" panose="020B0604020202020204" pitchFamily="34" charset="0"/>
                </a:rPr>
                <a:t>:</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Remodeling</a:t>
              </a:r>
              <a:r>
                <a:rPr lang="es-CL" sz="1200" dirty="0">
                  <a:solidFill>
                    <a:schemeClr val="tx2"/>
                  </a:solidFill>
                  <a:latin typeface="Poppins" pitchFamily="2" charset="77"/>
                  <a:cs typeface="Poppins" pitchFamily="2" charset="77"/>
                </a:rPr>
                <a:t> and </a:t>
              </a:r>
              <a:r>
                <a:rPr lang="es-CL" sz="1200" dirty="0" err="1">
                  <a:solidFill>
                    <a:schemeClr val="tx2"/>
                  </a:solidFill>
                  <a:latin typeface="Poppins" pitchFamily="2" charset="77"/>
                  <a:cs typeface="Poppins" pitchFamily="2" charset="77"/>
                </a:rPr>
                <a:t>public</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opening</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of</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the</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area</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renewing</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the</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commercial</a:t>
              </a:r>
              <a:r>
                <a:rPr lang="es-CL" sz="1200" dirty="0">
                  <a:solidFill>
                    <a:schemeClr val="tx2"/>
                  </a:solidFill>
                  <a:latin typeface="Poppins" pitchFamily="2" charset="77"/>
                  <a:cs typeface="Poppins" pitchFamily="2" charset="77"/>
                </a:rPr>
                <a:t> </a:t>
              </a:r>
              <a:r>
                <a:rPr lang="es-CL" sz="1200" dirty="0" err="1">
                  <a:solidFill>
                    <a:schemeClr val="tx2"/>
                  </a:solidFill>
                  <a:latin typeface="Poppins" pitchFamily="2" charset="77"/>
                  <a:cs typeface="Poppins" pitchFamily="2" charset="77"/>
                </a:rPr>
                <a:t>offering</a:t>
              </a:r>
              <a:r>
                <a:rPr lang="es-CL" sz="1200" dirty="0">
                  <a:solidFill>
                    <a:schemeClr val="tx2"/>
                  </a:solidFill>
                  <a:latin typeface="Poppins" pitchFamily="2" charset="77"/>
                  <a:cs typeface="Poppins" pitchFamily="2" charset="77"/>
                </a:rPr>
                <a:t>. </a:t>
              </a:r>
            </a:p>
          </p:txBody>
        </p:sp>
        <p:sp>
          <p:nvSpPr>
            <p:cNvPr id="45" name="Rectángulo 44">
              <a:extLst>
                <a:ext uri="{FF2B5EF4-FFF2-40B4-BE49-F238E27FC236}">
                  <a16:creationId xmlns:a16="http://schemas.microsoft.com/office/drawing/2014/main" id="{B07D07D6-3960-1D91-2299-782F6A39C381}"/>
                </a:ext>
              </a:extLst>
            </p:cNvPr>
            <p:cNvSpPr/>
            <p:nvPr/>
          </p:nvSpPr>
          <p:spPr>
            <a:xfrm>
              <a:off x="4659669" y="1301692"/>
              <a:ext cx="7308000" cy="489280"/>
            </a:xfrm>
            <a:prstGeom prst="rect">
              <a:avLst/>
            </a:prstGeom>
          </p:spPr>
          <p:txBody>
            <a:bodyPr wrap="square">
              <a:spAutoFit/>
            </a:bodyPr>
            <a:lstStyle/>
            <a:p>
              <a:pPr algn="just">
                <a:buNone/>
              </a:pPr>
              <a:r>
                <a:rPr lang="es-CL" sz="1200" b="1" kern="0">
                  <a:solidFill>
                    <a:srgbClr val="8200FE"/>
                  </a:solidFill>
                  <a:effectLst/>
                  <a:latin typeface="Poppins" panose="00000500000000000000" pitchFamily="2" charset="0"/>
                  <a:ea typeface="Times New Roman" panose="02020603050405020304" pitchFamily="18" charset="0"/>
                  <a:cs typeface="Arial" panose="020B0604020202020204" pitchFamily="34" charset="0"/>
                </a:rPr>
                <a:t>Cenco Costanera</a:t>
              </a:r>
            </a:p>
            <a:p>
              <a:pPr algn="just">
                <a:buNone/>
              </a:pPr>
              <a:r>
                <a:rPr lang="en-US" sz="1200" b="1" kern="100">
                  <a:solidFill>
                    <a:srgbClr val="002060"/>
                  </a:solidFill>
                  <a:latin typeface="Montserrat" panose="00000500000000000000" pitchFamily="2" charset="0"/>
                  <a:cs typeface="Arial" panose="020B0604020202020204" pitchFamily="34" charset="0"/>
                </a:rPr>
                <a:t>Progress on Ex Paris Gallery and New Vitacura Entrance</a:t>
              </a:r>
              <a:endParaRPr lang="es-CL" sz="1200" b="1" kern="100">
                <a:solidFill>
                  <a:srgbClr val="002060"/>
                </a:solidFill>
                <a:latin typeface="Montserrat" panose="00000500000000000000" pitchFamily="2" charset="0"/>
                <a:cs typeface="Arial" panose="020B0604020202020204" pitchFamily="34" charset="0"/>
              </a:endParaRPr>
            </a:p>
          </p:txBody>
        </p:sp>
      </p:grpSp>
      <p:grpSp>
        <p:nvGrpSpPr>
          <p:cNvPr id="46" name="Grupo 45">
            <a:extLst>
              <a:ext uri="{FF2B5EF4-FFF2-40B4-BE49-F238E27FC236}">
                <a16:creationId xmlns:a16="http://schemas.microsoft.com/office/drawing/2014/main" id="{B66740DC-AA28-CE78-5422-ACAFE585C4F8}"/>
              </a:ext>
            </a:extLst>
          </p:cNvPr>
          <p:cNvGrpSpPr/>
          <p:nvPr/>
        </p:nvGrpSpPr>
        <p:grpSpPr>
          <a:xfrm>
            <a:off x="282113" y="5315836"/>
            <a:ext cx="6800004" cy="1058073"/>
            <a:chOff x="4659669" y="1249108"/>
            <a:chExt cx="7865310" cy="1121362"/>
          </a:xfrm>
        </p:grpSpPr>
        <p:sp>
          <p:nvSpPr>
            <p:cNvPr id="47" name="CuadroTexto 46">
              <a:extLst>
                <a:ext uri="{FF2B5EF4-FFF2-40B4-BE49-F238E27FC236}">
                  <a16:creationId xmlns:a16="http://schemas.microsoft.com/office/drawing/2014/main" id="{91B3670C-8613-1F50-1A26-C6174C7ABA37}"/>
                </a:ext>
              </a:extLst>
            </p:cNvPr>
            <p:cNvSpPr txBox="1"/>
            <p:nvPr/>
          </p:nvSpPr>
          <p:spPr>
            <a:xfrm>
              <a:off x="4659669" y="1799644"/>
              <a:ext cx="7865310" cy="570826"/>
            </a:xfrm>
            <a:prstGeom prst="rect">
              <a:avLst/>
            </a:prstGeom>
            <a:noFill/>
          </p:spPr>
          <p:txBody>
            <a:bodyPr wrap="square" rtlCol="0">
              <a:spAutoFit/>
            </a:bodyPr>
            <a:lstStyle/>
            <a:p>
              <a:pPr marL="285750" indent="-285750" algn="just">
                <a:spcBef>
                  <a:spcPts val="600"/>
                </a:spcBef>
                <a:buSzPct val="130000"/>
                <a:buBlip>
                  <a:blip r:embed="rId4"/>
                </a:buBlip>
              </a:pPr>
              <a:r>
                <a:rPr lang="en-US" sz="1200">
                  <a:solidFill>
                    <a:schemeClr val="tx2"/>
                  </a:solidFill>
                  <a:latin typeface="Poppins" pitchFamily="2" charset="77"/>
                  <a:cs typeface="Poppins" pitchFamily="2" charset="77"/>
                </a:rPr>
                <a:t>Progress in the relocation and conversion project of the food court.</a:t>
              </a:r>
            </a:p>
            <a:p>
              <a:pPr marL="285750" indent="-285750" algn="just">
                <a:spcBef>
                  <a:spcPts val="600"/>
                </a:spcBef>
                <a:buSzPct val="130000"/>
                <a:buBlip>
                  <a:blip r:embed="rId4"/>
                </a:buBlip>
              </a:pPr>
              <a:r>
                <a:rPr lang="en-US" sz="1200">
                  <a:solidFill>
                    <a:schemeClr val="tx2"/>
                  </a:solidFill>
                  <a:latin typeface="Poppins" pitchFamily="2" charset="77"/>
                  <a:cs typeface="Poppins" pitchFamily="2" charset="77"/>
                </a:rPr>
                <a:t>The opening is scheduled for the second half of 2025.</a:t>
              </a:r>
              <a:endParaRPr lang="es-CL" sz="1200">
                <a:solidFill>
                  <a:schemeClr val="tx2"/>
                </a:solidFill>
                <a:latin typeface="Poppins" pitchFamily="2" charset="77"/>
                <a:cs typeface="Poppins" pitchFamily="2" charset="77"/>
              </a:endParaRPr>
            </a:p>
          </p:txBody>
        </p:sp>
        <p:sp>
          <p:nvSpPr>
            <p:cNvPr id="48" name="Rectángulo 47">
              <a:extLst>
                <a:ext uri="{FF2B5EF4-FFF2-40B4-BE49-F238E27FC236}">
                  <a16:creationId xmlns:a16="http://schemas.microsoft.com/office/drawing/2014/main" id="{47954828-2713-37DA-5328-C33F66FDDE3F}"/>
                </a:ext>
              </a:extLst>
            </p:cNvPr>
            <p:cNvSpPr/>
            <p:nvPr/>
          </p:nvSpPr>
          <p:spPr>
            <a:xfrm>
              <a:off x="4659669" y="1249108"/>
              <a:ext cx="7308000" cy="489280"/>
            </a:xfrm>
            <a:prstGeom prst="rect">
              <a:avLst/>
            </a:prstGeom>
          </p:spPr>
          <p:txBody>
            <a:bodyPr wrap="square">
              <a:spAutoFit/>
            </a:bodyPr>
            <a:lstStyle/>
            <a:p>
              <a:pPr algn="just">
                <a:buNone/>
              </a:pPr>
              <a:r>
                <a:rPr lang="es-CL" sz="1200" b="1" kern="0">
                  <a:solidFill>
                    <a:srgbClr val="8200FE"/>
                  </a:solidFill>
                  <a:effectLst/>
                  <a:latin typeface="Poppins" panose="00000500000000000000" pitchFamily="2" charset="0"/>
                  <a:ea typeface="Times New Roman" panose="02020603050405020304" pitchFamily="18" charset="0"/>
                  <a:cs typeface="Arial" panose="020B0604020202020204" pitchFamily="34" charset="0"/>
                </a:rPr>
                <a:t>Cenco Alto Las Condes</a:t>
              </a:r>
            </a:p>
            <a:p>
              <a:pPr algn="just"/>
              <a:r>
                <a:rPr lang="es-CL" sz="1200" b="1" kern="100" err="1">
                  <a:solidFill>
                    <a:srgbClr val="002060"/>
                  </a:solidFill>
                  <a:latin typeface="Montserrat" panose="00000500000000000000" pitchFamily="2" charset="0"/>
                  <a:cs typeface="Arial" panose="020B0604020202020204" pitchFamily="34" charset="0"/>
                </a:rPr>
                <a:t>Progress</a:t>
              </a:r>
              <a:r>
                <a:rPr lang="es-CL" sz="1200" b="1" kern="100">
                  <a:solidFill>
                    <a:srgbClr val="002060"/>
                  </a:solidFill>
                  <a:latin typeface="Montserrat" panose="00000500000000000000" pitchFamily="2" charset="0"/>
                  <a:cs typeface="Arial" panose="020B0604020202020204" pitchFamily="34" charset="0"/>
                </a:rPr>
                <a:t> </a:t>
              </a:r>
              <a:r>
                <a:rPr lang="es-CL" sz="1200" b="1" kern="100" err="1">
                  <a:solidFill>
                    <a:srgbClr val="002060"/>
                  </a:solidFill>
                  <a:latin typeface="Montserrat" panose="00000500000000000000" pitchFamily="2" charset="0"/>
                  <a:cs typeface="Arial" panose="020B0604020202020204" pitchFamily="34" charset="0"/>
                </a:rPr>
                <a:t>on</a:t>
              </a:r>
              <a:r>
                <a:rPr lang="es-CL" sz="1200" b="1" kern="100">
                  <a:solidFill>
                    <a:srgbClr val="002060"/>
                  </a:solidFill>
                  <a:latin typeface="Montserrat" panose="00000500000000000000" pitchFamily="2" charset="0"/>
                  <a:cs typeface="Arial" panose="020B0604020202020204" pitchFamily="34" charset="0"/>
                </a:rPr>
                <a:t> </a:t>
              </a:r>
              <a:r>
                <a:rPr lang="es-CL" sz="1200" b="1" kern="100" err="1">
                  <a:solidFill>
                    <a:srgbClr val="002060"/>
                  </a:solidFill>
                  <a:latin typeface="Montserrat" panose="00000500000000000000" pitchFamily="2" charset="0"/>
                  <a:cs typeface="Arial" panose="020B0604020202020204" pitchFamily="34" charset="0"/>
                </a:rPr>
                <a:t>Food</a:t>
              </a:r>
              <a:r>
                <a:rPr lang="es-CL" sz="1200" b="1" kern="100">
                  <a:solidFill>
                    <a:srgbClr val="002060"/>
                  </a:solidFill>
                  <a:latin typeface="Montserrat" panose="00000500000000000000" pitchFamily="2" charset="0"/>
                  <a:cs typeface="Arial" panose="020B0604020202020204" pitchFamily="34" charset="0"/>
                </a:rPr>
                <a:t> </a:t>
              </a:r>
              <a:r>
                <a:rPr lang="es-CL" sz="1200" b="1" kern="100" err="1">
                  <a:solidFill>
                    <a:srgbClr val="002060"/>
                  </a:solidFill>
                  <a:latin typeface="Montserrat" panose="00000500000000000000" pitchFamily="2" charset="0"/>
                  <a:cs typeface="Arial" panose="020B0604020202020204" pitchFamily="34" charset="0"/>
                </a:rPr>
                <a:t>Court</a:t>
              </a:r>
              <a:endParaRPr lang="es-CL" sz="1200" b="1" kern="100">
                <a:solidFill>
                  <a:srgbClr val="002060"/>
                </a:solidFill>
                <a:latin typeface="Montserrat" panose="00000500000000000000" pitchFamily="2" charset="0"/>
                <a:cs typeface="Arial" panose="020B0604020202020204" pitchFamily="34" charset="0"/>
              </a:endParaRPr>
            </a:p>
          </p:txBody>
        </p:sp>
      </p:grpSp>
      <p:pic>
        <p:nvPicPr>
          <p:cNvPr id="7" name="Imagen 6">
            <a:extLst>
              <a:ext uri="{FF2B5EF4-FFF2-40B4-BE49-F238E27FC236}">
                <a16:creationId xmlns:a16="http://schemas.microsoft.com/office/drawing/2014/main" id="{CA5BF070-7BBC-F03C-1320-6E34BDEF796C}"/>
              </a:ext>
            </a:extLst>
          </p:cNvPr>
          <p:cNvPicPr>
            <a:picLocks noChangeAspect="1"/>
          </p:cNvPicPr>
          <p:nvPr/>
        </p:nvPicPr>
        <p:blipFill>
          <a:blip r:embed="rId5"/>
          <a:srcRect l="4469" r="5301" b="6402"/>
          <a:stretch/>
        </p:blipFill>
        <p:spPr>
          <a:xfrm>
            <a:off x="7490461" y="1501275"/>
            <a:ext cx="4507268" cy="3506660"/>
          </a:xfrm>
          <a:prstGeom prst="roundRect">
            <a:avLst>
              <a:gd name="adj" fmla="val 6463"/>
            </a:avLst>
          </a:prstGeom>
        </p:spPr>
      </p:pic>
      <p:sp>
        <p:nvSpPr>
          <p:cNvPr id="2" name="CuadroTexto 1">
            <a:extLst>
              <a:ext uri="{FF2B5EF4-FFF2-40B4-BE49-F238E27FC236}">
                <a16:creationId xmlns:a16="http://schemas.microsoft.com/office/drawing/2014/main" id="{0FB8914C-FA11-CE71-3D4B-DB0481763BB2}"/>
              </a:ext>
            </a:extLst>
          </p:cNvPr>
          <p:cNvSpPr txBox="1"/>
          <p:nvPr/>
        </p:nvSpPr>
        <p:spPr>
          <a:xfrm>
            <a:off x="491795" y="207049"/>
            <a:ext cx="7701945" cy="553998"/>
          </a:xfrm>
          <a:prstGeom prst="rect">
            <a:avLst/>
          </a:prstGeom>
          <a:noFill/>
        </p:spPr>
        <p:txBody>
          <a:bodyPr wrap="square" rtlCol="0">
            <a:spAutoFit/>
          </a:bodyPr>
          <a:lstStyle/>
          <a:p>
            <a:r>
              <a:rPr lang="es-CL" sz="3000" b="1">
                <a:solidFill>
                  <a:schemeClr val="accent3"/>
                </a:solidFill>
                <a:latin typeface="Poppins" pitchFamily="2" charset="77"/>
                <a:cs typeface="Poppins" pitchFamily="2" charset="77"/>
              </a:rPr>
              <a:t>1.3</a:t>
            </a:r>
            <a:r>
              <a:rPr lang="es-CL" sz="3000" b="1">
                <a:solidFill>
                  <a:schemeClr val="accent2"/>
                </a:solidFill>
                <a:latin typeface="Poppins" pitchFamily="2" charset="77"/>
                <a:cs typeface="Poppins" pitchFamily="2" charset="77"/>
              </a:rPr>
              <a:t> </a:t>
            </a:r>
            <a:r>
              <a:rPr lang="es-CL" sz="3000" b="1" err="1">
                <a:solidFill>
                  <a:srgbClr val="021766"/>
                </a:solidFill>
                <a:latin typeface="Poppins" pitchFamily="2" charset="77"/>
                <a:cs typeface="Poppins" pitchFamily="2" charset="77"/>
              </a:rPr>
              <a:t>Investment</a:t>
            </a:r>
            <a:r>
              <a:rPr lang="es-CL" sz="3000" b="1">
                <a:solidFill>
                  <a:srgbClr val="021766"/>
                </a:solidFill>
                <a:latin typeface="Poppins" pitchFamily="2" charset="77"/>
                <a:cs typeface="Poppins" pitchFamily="2" charset="77"/>
              </a:rPr>
              <a:t> Plan Key </a:t>
            </a:r>
            <a:r>
              <a:rPr lang="es-CL" sz="3000" b="1" err="1">
                <a:solidFill>
                  <a:srgbClr val="021766"/>
                </a:solidFill>
                <a:latin typeface="Poppins" pitchFamily="2" charset="77"/>
                <a:cs typeface="Poppins" pitchFamily="2" charset="77"/>
              </a:rPr>
              <a:t>Progress</a:t>
            </a:r>
            <a:endParaRPr lang="es-CL" sz="3000" b="1">
              <a:solidFill>
                <a:srgbClr val="021766"/>
              </a:solidFill>
              <a:latin typeface="Poppins" pitchFamily="2" charset="77"/>
              <a:cs typeface="Poppins" pitchFamily="2" charset="77"/>
            </a:endParaRPr>
          </a:p>
        </p:txBody>
      </p:sp>
      <p:sp>
        <p:nvSpPr>
          <p:cNvPr id="4" name="Marcador de número de diapositiva 1">
            <a:extLst>
              <a:ext uri="{FF2B5EF4-FFF2-40B4-BE49-F238E27FC236}">
                <a16:creationId xmlns:a16="http://schemas.microsoft.com/office/drawing/2014/main" id="{E48926CF-5778-898A-848D-BA5148391CF5}"/>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5</a:t>
            </a:fld>
            <a:endParaRPr lang="es-CL"/>
          </a:p>
        </p:txBody>
      </p:sp>
      <p:sp>
        <p:nvSpPr>
          <p:cNvPr id="6" name="Título 1">
            <a:extLst>
              <a:ext uri="{FF2B5EF4-FFF2-40B4-BE49-F238E27FC236}">
                <a16:creationId xmlns:a16="http://schemas.microsoft.com/office/drawing/2014/main" id="{24CB5439-ABFB-0307-3A86-6071B8F5233C}"/>
              </a:ext>
            </a:extLst>
          </p:cNvPr>
          <p:cNvSpPr txBox="1">
            <a:spLocks/>
          </p:cNvSpPr>
          <p:nvPr/>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bg1"/>
                </a:solidFill>
                <a:latin typeface="Poppins" pitchFamily="2" charset="77"/>
                <a:cs typeface="Poppins" pitchFamily="2" charset="77"/>
              </a:rPr>
              <a:t>Earning</a:t>
            </a:r>
            <a:r>
              <a:rPr lang="es-MX" sz="800" b="1">
                <a:solidFill>
                  <a:schemeClr val="bg1"/>
                </a:solidFill>
                <a:latin typeface="Poppins" pitchFamily="2" charset="77"/>
                <a:cs typeface="Poppins" pitchFamily="2" charset="77"/>
              </a:rPr>
              <a:t> </a:t>
            </a:r>
            <a:r>
              <a:rPr lang="es-MX" sz="800" b="1" err="1">
                <a:solidFill>
                  <a:schemeClr val="bg1"/>
                </a:solidFill>
                <a:latin typeface="Poppins" pitchFamily="2" charset="77"/>
                <a:cs typeface="Poppins" pitchFamily="2" charset="77"/>
              </a:rPr>
              <a:t>Presentation</a:t>
            </a:r>
            <a:r>
              <a:rPr lang="es-MX" sz="800" b="0">
                <a:solidFill>
                  <a:schemeClr val="bg1"/>
                </a:solidFill>
                <a:latin typeface="Poppins" pitchFamily="2" charset="77"/>
                <a:cs typeface="Poppins" pitchFamily="2" charset="77"/>
              </a:rPr>
              <a:t>– </a:t>
            </a:r>
            <a:r>
              <a:rPr lang="es-MX" sz="800" b="0" err="1">
                <a:solidFill>
                  <a:schemeClr val="bg1"/>
                </a:solidFill>
                <a:latin typeface="Poppins" pitchFamily="2" charset="77"/>
                <a:cs typeface="Poppins" pitchFamily="2" charset="77"/>
              </a:rPr>
              <a:t>First</a:t>
            </a:r>
            <a:r>
              <a:rPr lang="es-MX" sz="800" b="0">
                <a:solidFill>
                  <a:schemeClr val="bg1"/>
                </a:solidFill>
                <a:latin typeface="Poppins" pitchFamily="2" charset="77"/>
                <a:cs typeface="Poppins" pitchFamily="2" charset="77"/>
              </a:rPr>
              <a:t> </a:t>
            </a:r>
            <a:r>
              <a:rPr lang="es-MX" sz="800" b="0" err="1">
                <a:solidFill>
                  <a:schemeClr val="bg1"/>
                </a:solidFill>
                <a:latin typeface="Poppins" pitchFamily="2" charset="77"/>
                <a:cs typeface="Poppins" pitchFamily="2" charset="77"/>
              </a:rPr>
              <a:t>Quarter</a:t>
            </a:r>
            <a:r>
              <a:rPr lang="es-MX" sz="800" b="0">
                <a:solidFill>
                  <a:schemeClr val="bg1"/>
                </a:solidFill>
                <a:latin typeface="Poppins" pitchFamily="2" charset="77"/>
                <a:cs typeface="Poppins" pitchFamily="2" charset="77"/>
              </a:rPr>
              <a:t> 2025</a:t>
            </a:r>
            <a:endParaRPr lang="es-CL" sz="800" b="0">
              <a:solidFill>
                <a:schemeClr val="bg1"/>
              </a:solidFill>
              <a:latin typeface="Poppins" pitchFamily="2" charset="77"/>
              <a:cs typeface="Poppins" pitchFamily="2" charset="77"/>
            </a:endParaRPr>
          </a:p>
        </p:txBody>
      </p:sp>
    </p:spTree>
    <p:extLst>
      <p:ext uri="{BB962C8B-B14F-4D97-AF65-F5344CB8AC3E}">
        <p14:creationId xmlns:p14="http://schemas.microsoft.com/office/powerpoint/2010/main" val="24027950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3B36B0-0ED3-F256-100A-17283038173F}"/>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A7E535EE-53C4-6D4D-5ACE-F43A9C2B570F}"/>
              </a:ext>
            </a:extLst>
          </p:cNvPr>
          <p:cNvGraphicFramePr>
            <a:graphicFrameLocks noChangeAspect="1"/>
          </p:cNvGraphicFramePr>
          <p:nvPr>
            <p:custDataLst>
              <p:tags r:id="rId1"/>
            </p:custDataLst>
            <p:extLst>
              <p:ext uri="{D42A27DB-BD31-4B8C-83A1-F6EECF244321}">
                <p14:modId xmlns:p14="http://schemas.microsoft.com/office/powerpoint/2010/main" val="402692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05" imgH="405" progId="TCLayout.ActiveDocument.1">
                  <p:embed/>
                </p:oleObj>
              </mc:Choice>
              <mc:Fallback>
                <p:oleObj name="Diapositiva de think-cell" r:id="rId4" imgW="405" imgH="405" progId="TCLayout.ActiveDocument.1">
                  <p:embed/>
                  <p:pic>
                    <p:nvPicPr>
                      <p:cNvPr id="15" name="think-cell data - do not delete" hidden="1">
                        <a:extLst>
                          <a:ext uri="{FF2B5EF4-FFF2-40B4-BE49-F238E27FC236}">
                            <a16:creationId xmlns:a16="http://schemas.microsoft.com/office/drawing/2014/main" id="{A7E535EE-53C4-6D4D-5ACE-F43A9C2B57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Imagen 13">
            <a:extLst>
              <a:ext uri="{FF2B5EF4-FFF2-40B4-BE49-F238E27FC236}">
                <a16:creationId xmlns:a16="http://schemas.microsoft.com/office/drawing/2014/main" id="{4DF10D6B-371B-C475-0C4C-073F7823F100}"/>
              </a:ext>
            </a:extLst>
          </p:cNvPr>
          <p:cNvPicPr>
            <a:picLocks noChangeAspect="1"/>
          </p:cNvPicPr>
          <p:nvPr/>
        </p:nvPicPr>
        <p:blipFill>
          <a:blip r:embed="rId6"/>
          <a:srcRect l="64107" t="21705" r="4686" b="33687"/>
          <a:stretch/>
        </p:blipFill>
        <p:spPr>
          <a:xfrm flipH="1">
            <a:off x="7317689" y="0"/>
            <a:ext cx="4874311" cy="6865713"/>
          </a:xfrm>
          <a:prstGeom prst="rect">
            <a:avLst/>
          </a:prstGeom>
        </p:spPr>
      </p:pic>
      <p:pic>
        <p:nvPicPr>
          <p:cNvPr id="12" name="Imagen 11">
            <a:extLst>
              <a:ext uri="{FF2B5EF4-FFF2-40B4-BE49-F238E27FC236}">
                <a16:creationId xmlns:a16="http://schemas.microsoft.com/office/drawing/2014/main" id="{3FD30E2D-95A2-8CF0-E809-4C80C3A07B47}"/>
              </a:ext>
            </a:extLst>
          </p:cNvPr>
          <p:cNvPicPr>
            <a:picLocks noChangeAspect="1"/>
          </p:cNvPicPr>
          <p:nvPr/>
        </p:nvPicPr>
        <p:blipFill>
          <a:blip r:embed="rId7" cstate="screen">
            <a:extLst>
              <a:ext uri="{28A0092B-C50C-407E-A947-70E740481C1C}">
                <a14:useLocalDpi xmlns:a14="http://schemas.microsoft.com/office/drawing/2010/main"/>
              </a:ext>
            </a:extLst>
          </a:blip>
          <a:srcRect t="998" b="2674"/>
          <a:stretch>
            <a:fillRect/>
          </a:stretch>
        </p:blipFill>
        <p:spPr>
          <a:xfrm>
            <a:off x="8009797" y="3723429"/>
            <a:ext cx="3967138" cy="2876087"/>
          </a:xfrm>
          <a:custGeom>
            <a:avLst/>
            <a:gdLst>
              <a:gd name="connsiteX0" fmla="*/ 1608405 w 3874383"/>
              <a:gd name="connsiteY0" fmla="*/ 15 h 2808842"/>
              <a:gd name="connsiteX1" fmla="*/ 3172720 w 3874383"/>
              <a:gd name="connsiteY1" fmla="*/ 243010 h 2808842"/>
              <a:gd name="connsiteX2" fmla="*/ 3874383 w 3874383"/>
              <a:gd name="connsiteY2" fmla="*/ 1921453 h 2808842"/>
              <a:gd name="connsiteX3" fmla="*/ 3874383 w 3874383"/>
              <a:gd name="connsiteY3" fmla="*/ 2181528 h 2808842"/>
              <a:gd name="connsiteX4" fmla="*/ 2739506 w 3874383"/>
              <a:gd name="connsiteY4" fmla="*/ 2808842 h 2808842"/>
              <a:gd name="connsiteX5" fmla="*/ 1414381 w 3874383"/>
              <a:gd name="connsiteY5" fmla="*/ 2384093 h 2808842"/>
              <a:gd name="connsiteX6" fmla="*/ 79185 w 3874383"/>
              <a:gd name="connsiteY6" fmla="*/ 2710951 h 2808842"/>
              <a:gd name="connsiteX7" fmla="*/ 53434 w 3874383"/>
              <a:gd name="connsiteY7" fmla="*/ 2732794 h 2808842"/>
              <a:gd name="connsiteX8" fmla="*/ 26261 w 3874383"/>
              <a:gd name="connsiteY8" fmla="*/ 2682731 h 2808842"/>
              <a:gd name="connsiteX9" fmla="*/ 6789 w 3874383"/>
              <a:gd name="connsiteY9" fmla="*/ 2620004 h 2808842"/>
              <a:gd name="connsiteX10" fmla="*/ 3661 w 3874383"/>
              <a:gd name="connsiteY10" fmla="*/ 2588973 h 2808842"/>
              <a:gd name="connsiteX11" fmla="*/ 0 w 3874383"/>
              <a:gd name="connsiteY11" fmla="*/ 1498121 h 2808842"/>
              <a:gd name="connsiteX12" fmla="*/ 0 w 3874383"/>
              <a:gd name="connsiteY12" fmla="*/ 305069 h 2808842"/>
              <a:gd name="connsiteX13" fmla="*/ 5012 w 3874383"/>
              <a:gd name="connsiteY13" fmla="*/ 248268 h 2808842"/>
              <a:gd name="connsiteX14" fmla="*/ 120743 w 3874383"/>
              <a:gd name="connsiteY14" fmla="*/ 205330 h 2808842"/>
              <a:gd name="connsiteX15" fmla="*/ 1608405 w 3874383"/>
              <a:gd name="connsiteY15" fmla="*/ 15 h 2808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74383" h="2808842">
                <a:moveTo>
                  <a:pt x="1608405" y="15"/>
                </a:moveTo>
                <a:cubicBezTo>
                  <a:pt x="2123950" y="1166"/>
                  <a:pt x="2675975" y="69824"/>
                  <a:pt x="3172720" y="243010"/>
                </a:cubicBezTo>
                <a:lnTo>
                  <a:pt x="3874383" y="1921453"/>
                </a:lnTo>
                <a:lnTo>
                  <a:pt x="3874383" y="2181528"/>
                </a:lnTo>
                <a:lnTo>
                  <a:pt x="2739506" y="2808842"/>
                </a:lnTo>
                <a:lnTo>
                  <a:pt x="1414381" y="2384093"/>
                </a:lnTo>
                <a:cubicBezTo>
                  <a:pt x="869324" y="2348697"/>
                  <a:pt x="304756" y="2538949"/>
                  <a:pt x="79185" y="2710951"/>
                </a:cubicBezTo>
                <a:lnTo>
                  <a:pt x="53434" y="2732794"/>
                </a:lnTo>
                <a:lnTo>
                  <a:pt x="26261" y="2682731"/>
                </a:lnTo>
                <a:cubicBezTo>
                  <a:pt x="17806" y="2662741"/>
                  <a:pt x="11241" y="2641758"/>
                  <a:pt x="6789" y="2620004"/>
                </a:cubicBezTo>
                <a:lnTo>
                  <a:pt x="3661" y="2588973"/>
                </a:lnTo>
                <a:lnTo>
                  <a:pt x="0" y="1498121"/>
                </a:lnTo>
                <a:lnTo>
                  <a:pt x="0" y="305069"/>
                </a:lnTo>
                <a:lnTo>
                  <a:pt x="5012" y="248268"/>
                </a:lnTo>
                <a:lnTo>
                  <a:pt x="120743" y="205330"/>
                </a:lnTo>
                <a:cubicBezTo>
                  <a:pt x="477667" y="85559"/>
                  <a:pt x="1019212" y="-1300"/>
                  <a:pt x="1608405" y="15"/>
                </a:cubicBezTo>
                <a:close/>
              </a:path>
            </a:pathLst>
          </a:custGeom>
        </p:spPr>
      </p:pic>
      <p:grpSp>
        <p:nvGrpSpPr>
          <p:cNvPr id="31" name="Grupo 30">
            <a:extLst>
              <a:ext uri="{FF2B5EF4-FFF2-40B4-BE49-F238E27FC236}">
                <a16:creationId xmlns:a16="http://schemas.microsoft.com/office/drawing/2014/main" id="{74A6A774-240B-B27A-A98E-1B369B40BBDF}"/>
              </a:ext>
            </a:extLst>
          </p:cNvPr>
          <p:cNvGrpSpPr/>
          <p:nvPr/>
        </p:nvGrpSpPr>
        <p:grpSpPr>
          <a:xfrm>
            <a:off x="275661" y="4011961"/>
            <a:ext cx="11743159" cy="1223283"/>
            <a:chOff x="4659668" y="1249108"/>
            <a:chExt cx="7308001" cy="1296454"/>
          </a:xfrm>
        </p:grpSpPr>
        <p:sp>
          <p:nvSpPr>
            <p:cNvPr id="32" name="CuadroTexto 31">
              <a:extLst>
                <a:ext uri="{FF2B5EF4-FFF2-40B4-BE49-F238E27FC236}">
                  <a16:creationId xmlns:a16="http://schemas.microsoft.com/office/drawing/2014/main" id="{54E39059-20BB-2585-BDE2-394590C6A98C}"/>
                </a:ext>
              </a:extLst>
            </p:cNvPr>
            <p:cNvSpPr txBox="1"/>
            <p:nvPr/>
          </p:nvSpPr>
          <p:spPr>
            <a:xfrm>
              <a:off x="4659668" y="1779024"/>
              <a:ext cx="4158964" cy="766538"/>
            </a:xfrm>
            <a:prstGeom prst="rect">
              <a:avLst/>
            </a:prstGeom>
            <a:noFill/>
          </p:spPr>
          <p:txBody>
            <a:bodyPr wrap="square" rtlCol="0">
              <a:spAutoFit/>
            </a:bodyPr>
            <a:lstStyle/>
            <a:p>
              <a:pPr marL="285750" indent="-285750" algn="just">
                <a:spcBef>
                  <a:spcPts val="600"/>
                </a:spcBef>
                <a:buSzPct val="130000"/>
                <a:buBlip>
                  <a:blip r:embed="rId8"/>
                </a:buBlip>
              </a:pPr>
              <a:r>
                <a:rPr lang="en-US" sz="1200">
                  <a:solidFill>
                    <a:schemeClr val="tx2"/>
                  </a:solidFill>
                  <a:latin typeface="Poppins" pitchFamily="2" charset="77"/>
                  <a:cs typeface="Poppins" pitchFamily="2" charset="77"/>
                </a:rPr>
                <a:t>The opening of new gastronomic venues has begun to strengthen the culinary offering.</a:t>
              </a:r>
            </a:p>
            <a:p>
              <a:pPr marL="285750" indent="-285750" algn="just">
                <a:spcBef>
                  <a:spcPts val="600"/>
                </a:spcBef>
                <a:buSzPct val="130000"/>
                <a:buBlip>
                  <a:blip r:embed="rId8"/>
                </a:buBlip>
              </a:pPr>
              <a:r>
                <a:rPr lang="en-US" sz="1200">
                  <a:solidFill>
                    <a:schemeClr val="tx2"/>
                  </a:solidFill>
                  <a:latin typeface="Poppins" pitchFamily="2" charset="77"/>
                  <a:cs typeface="Poppins" pitchFamily="2" charset="77"/>
                </a:rPr>
                <a:t>These additions aim to enhance foot traffic and improve the visitor experience.</a:t>
              </a:r>
              <a:endParaRPr lang="es-CL" sz="1200">
                <a:solidFill>
                  <a:schemeClr val="tx2"/>
                </a:solidFill>
                <a:latin typeface="Poppins" pitchFamily="2" charset="77"/>
                <a:cs typeface="Poppins" pitchFamily="2" charset="77"/>
              </a:endParaRPr>
            </a:p>
          </p:txBody>
        </p:sp>
        <p:sp>
          <p:nvSpPr>
            <p:cNvPr id="33" name="Rectángulo 32">
              <a:extLst>
                <a:ext uri="{FF2B5EF4-FFF2-40B4-BE49-F238E27FC236}">
                  <a16:creationId xmlns:a16="http://schemas.microsoft.com/office/drawing/2014/main" id="{01E42E91-0E28-8F33-A64E-5A02681817C6}"/>
                </a:ext>
              </a:extLst>
            </p:cNvPr>
            <p:cNvSpPr/>
            <p:nvPr/>
          </p:nvSpPr>
          <p:spPr>
            <a:xfrm>
              <a:off x="4659669" y="1249108"/>
              <a:ext cx="7308000" cy="489280"/>
            </a:xfrm>
            <a:prstGeom prst="rect">
              <a:avLst/>
            </a:prstGeom>
          </p:spPr>
          <p:txBody>
            <a:bodyPr wrap="square">
              <a:spAutoFit/>
            </a:bodyPr>
            <a:lstStyle/>
            <a:p>
              <a:pPr algn="just">
                <a:buNone/>
              </a:pPr>
              <a:r>
                <a:rPr lang="es-CL" sz="1200" b="1" kern="0">
                  <a:solidFill>
                    <a:srgbClr val="8200FE"/>
                  </a:solidFill>
                  <a:effectLst/>
                  <a:latin typeface="Poppins" panose="00000500000000000000" pitchFamily="2" charset="0"/>
                  <a:ea typeface="Times New Roman" panose="02020603050405020304" pitchFamily="18" charset="0"/>
                  <a:cs typeface="Arial" panose="020B0604020202020204" pitchFamily="34" charset="0"/>
                </a:rPr>
                <a:t>Cenco La Dehesa</a:t>
              </a:r>
            </a:p>
            <a:p>
              <a:pPr algn="just">
                <a:buNone/>
              </a:pPr>
              <a:r>
                <a:rPr lang="en-US" sz="1200" b="1" kern="100">
                  <a:solidFill>
                    <a:srgbClr val="002060"/>
                  </a:solidFill>
                  <a:latin typeface="Montserrat" panose="00000500000000000000" pitchFamily="2" charset="0"/>
                  <a:cs typeface="Arial" panose="020B0604020202020204" pitchFamily="34" charset="0"/>
                </a:rPr>
                <a:t>Opening of New Gastronomic Venues</a:t>
              </a:r>
              <a:endParaRPr lang="es-CL" sz="1200" b="1" kern="100">
                <a:solidFill>
                  <a:srgbClr val="002060"/>
                </a:solidFill>
                <a:latin typeface="Montserrat" panose="00000500000000000000" pitchFamily="2" charset="0"/>
                <a:cs typeface="Arial" panose="020B0604020202020204" pitchFamily="34" charset="0"/>
              </a:endParaRPr>
            </a:p>
          </p:txBody>
        </p:sp>
      </p:grpSp>
      <p:grpSp>
        <p:nvGrpSpPr>
          <p:cNvPr id="34" name="Grupo 33">
            <a:extLst>
              <a:ext uri="{FF2B5EF4-FFF2-40B4-BE49-F238E27FC236}">
                <a16:creationId xmlns:a16="http://schemas.microsoft.com/office/drawing/2014/main" id="{75E4436C-BB4B-00C3-4F14-120C480AC230}"/>
              </a:ext>
            </a:extLst>
          </p:cNvPr>
          <p:cNvGrpSpPr/>
          <p:nvPr/>
        </p:nvGrpSpPr>
        <p:grpSpPr>
          <a:xfrm>
            <a:off x="275662" y="5284998"/>
            <a:ext cx="11743157" cy="1223283"/>
            <a:chOff x="4659669" y="1249108"/>
            <a:chExt cx="7308000" cy="1296454"/>
          </a:xfrm>
        </p:grpSpPr>
        <p:sp>
          <p:nvSpPr>
            <p:cNvPr id="35" name="CuadroTexto 34">
              <a:extLst>
                <a:ext uri="{FF2B5EF4-FFF2-40B4-BE49-F238E27FC236}">
                  <a16:creationId xmlns:a16="http://schemas.microsoft.com/office/drawing/2014/main" id="{D7250173-DCDE-9B8B-E741-0780405BC23A}"/>
                </a:ext>
              </a:extLst>
            </p:cNvPr>
            <p:cNvSpPr txBox="1"/>
            <p:nvPr/>
          </p:nvSpPr>
          <p:spPr>
            <a:xfrm>
              <a:off x="4659670" y="1779024"/>
              <a:ext cx="4158964" cy="766538"/>
            </a:xfrm>
            <a:prstGeom prst="rect">
              <a:avLst/>
            </a:prstGeom>
            <a:noFill/>
          </p:spPr>
          <p:txBody>
            <a:bodyPr wrap="square" rtlCol="0">
              <a:spAutoFit/>
            </a:bodyPr>
            <a:lstStyle/>
            <a:p>
              <a:pPr marL="285750" indent="-285750" algn="just">
                <a:spcBef>
                  <a:spcPts val="600"/>
                </a:spcBef>
                <a:buSzPct val="130000"/>
                <a:buBlip>
                  <a:blip r:embed="rId8"/>
                </a:buBlip>
              </a:pPr>
              <a:r>
                <a:rPr lang="en-US" sz="1200">
                  <a:solidFill>
                    <a:schemeClr val="tx2"/>
                  </a:solidFill>
                  <a:latin typeface="Poppins" pitchFamily="2" charset="77"/>
                  <a:cs typeface="Poppins" pitchFamily="2" charset="77"/>
                </a:rPr>
                <a:t>Phase 2 works reached 70% completion, adding over 22,000 sqm of new GLA.</a:t>
              </a:r>
            </a:p>
            <a:p>
              <a:pPr marL="285750" indent="-285750" algn="just">
                <a:spcBef>
                  <a:spcPts val="600"/>
                </a:spcBef>
                <a:buSzPct val="130000"/>
                <a:buBlip>
                  <a:blip r:embed="rId8"/>
                </a:buBlip>
              </a:pPr>
              <a:r>
                <a:rPr lang="en-US" sz="1200">
                  <a:solidFill>
                    <a:schemeClr val="tx2"/>
                  </a:solidFill>
                  <a:latin typeface="Poppins" pitchFamily="2" charset="77"/>
                  <a:cs typeface="Poppins" pitchFamily="2" charset="77"/>
                </a:rPr>
                <a:t>Intervention on the 5th floor has also begun, with an opening targeted for late 2025.</a:t>
              </a:r>
              <a:endParaRPr lang="es-CL" sz="1200">
                <a:solidFill>
                  <a:schemeClr val="tx2"/>
                </a:solidFill>
                <a:latin typeface="Poppins" pitchFamily="2" charset="77"/>
                <a:cs typeface="Poppins" pitchFamily="2" charset="77"/>
              </a:endParaRPr>
            </a:p>
          </p:txBody>
        </p:sp>
        <p:sp>
          <p:nvSpPr>
            <p:cNvPr id="36" name="Rectángulo 35">
              <a:extLst>
                <a:ext uri="{FF2B5EF4-FFF2-40B4-BE49-F238E27FC236}">
                  <a16:creationId xmlns:a16="http://schemas.microsoft.com/office/drawing/2014/main" id="{457DCA2F-424A-448D-1F70-0B379A10D472}"/>
                </a:ext>
              </a:extLst>
            </p:cNvPr>
            <p:cNvSpPr/>
            <p:nvPr/>
          </p:nvSpPr>
          <p:spPr>
            <a:xfrm>
              <a:off x="4659669" y="1249108"/>
              <a:ext cx="7308000" cy="489280"/>
            </a:xfrm>
            <a:prstGeom prst="rect">
              <a:avLst/>
            </a:prstGeom>
          </p:spPr>
          <p:txBody>
            <a:bodyPr wrap="square">
              <a:spAutoFit/>
            </a:bodyPr>
            <a:lstStyle/>
            <a:p>
              <a:pPr algn="just">
                <a:buNone/>
              </a:pPr>
              <a:r>
                <a:rPr lang="es-CL" sz="1200" b="1" kern="0">
                  <a:solidFill>
                    <a:srgbClr val="8200FE"/>
                  </a:solidFill>
                  <a:effectLst/>
                  <a:latin typeface="Poppins" panose="00000500000000000000" pitchFamily="2" charset="0"/>
                  <a:ea typeface="Times New Roman" panose="02020603050405020304" pitchFamily="18" charset="0"/>
                  <a:cs typeface="Arial" panose="020B0604020202020204" pitchFamily="34" charset="0"/>
                </a:rPr>
                <a:t>Cenco La Molina (Lima, Perú)</a:t>
              </a:r>
            </a:p>
            <a:p>
              <a:pPr algn="just">
                <a:buNone/>
              </a:pPr>
              <a:r>
                <a:rPr lang="en-US" sz="1200" b="1" kern="100">
                  <a:solidFill>
                    <a:srgbClr val="002060"/>
                  </a:solidFill>
                  <a:latin typeface="Montserrat" panose="00000500000000000000" pitchFamily="2" charset="0"/>
                  <a:cs typeface="Arial" panose="020B0604020202020204" pitchFamily="34" charset="0"/>
                </a:rPr>
                <a:t>Progress on Phase 2 Works and Start of 5</a:t>
              </a:r>
              <a:r>
                <a:rPr lang="en-US" sz="1200" b="1" kern="100" baseline="30000">
                  <a:solidFill>
                    <a:srgbClr val="002060"/>
                  </a:solidFill>
                  <a:latin typeface="Montserrat" panose="00000500000000000000" pitchFamily="2" charset="0"/>
                  <a:cs typeface="Arial" panose="020B0604020202020204" pitchFamily="34" charset="0"/>
                </a:rPr>
                <a:t>th</a:t>
              </a:r>
              <a:r>
                <a:rPr lang="en-US" sz="1200" b="1" kern="100">
                  <a:solidFill>
                    <a:srgbClr val="002060"/>
                  </a:solidFill>
                  <a:latin typeface="Montserrat" panose="00000500000000000000" pitchFamily="2" charset="0"/>
                  <a:cs typeface="Arial" panose="020B0604020202020204" pitchFamily="34" charset="0"/>
                </a:rPr>
                <a:t> Floor Intervention</a:t>
              </a:r>
              <a:endParaRPr lang="es-CL" sz="1200" b="1" kern="100">
                <a:solidFill>
                  <a:srgbClr val="002060"/>
                </a:solidFill>
                <a:latin typeface="Montserrat" panose="00000500000000000000" pitchFamily="2" charset="0"/>
                <a:cs typeface="Arial" panose="020B0604020202020204" pitchFamily="34" charset="0"/>
              </a:endParaRPr>
            </a:p>
          </p:txBody>
        </p:sp>
      </p:grpSp>
      <p:pic>
        <p:nvPicPr>
          <p:cNvPr id="49" name="Imagen 48">
            <a:extLst>
              <a:ext uri="{FF2B5EF4-FFF2-40B4-BE49-F238E27FC236}">
                <a16:creationId xmlns:a16="http://schemas.microsoft.com/office/drawing/2014/main" id="{2CBFA187-1C81-C0C3-9B27-F07EABAA1939}"/>
              </a:ext>
            </a:extLst>
          </p:cNvPr>
          <p:cNvPicPr>
            <a:picLocks noChangeAspect="1"/>
          </p:cNvPicPr>
          <p:nvPr/>
        </p:nvPicPr>
        <p:blipFill>
          <a:blip r:embed="rId9"/>
          <a:stretch>
            <a:fillRect/>
          </a:stretch>
        </p:blipFill>
        <p:spPr>
          <a:xfrm>
            <a:off x="10071935" y="242386"/>
            <a:ext cx="1905000" cy="445738"/>
          </a:xfrm>
          <a:prstGeom prst="rect">
            <a:avLst/>
          </a:prstGeom>
        </p:spPr>
      </p:pic>
      <p:grpSp>
        <p:nvGrpSpPr>
          <p:cNvPr id="6" name="Grupo 5">
            <a:extLst>
              <a:ext uri="{FF2B5EF4-FFF2-40B4-BE49-F238E27FC236}">
                <a16:creationId xmlns:a16="http://schemas.microsoft.com/office/drawing/2014/main" id="{53533E66-CE95-9ADC-13E8-131A5D5A60BB}"/>
              </a:ext>
            </a:extLst>
          </p:cNvPr>
          <p:cNvGrpSpPr/>
          <p:nvPr/>
        </p:nvGrpSpPr>
        <p:grpSpPr>
          <a:xfrm>
            <a:off x="277754" y="1129517"/>
            <a:ext cx="10911076" cy="994369"/>
            <a:chOff x="277754" y="2839445"/>
            <a:chExt cx="10911076" cy="994369"/>
          </a:xfrm>
        </p:grpSpPr>
        <p:sp>
          <p:nvSpPr>
            <p:cNvPr id="4" name="Rectángulo 3">
              <a:extLst>
                <a:ext uri="{FF2B5EF4-FFF2-40B4-BE49-F238E27FC236}">
                  <a16:creationId xmlns:a16="http://schemas.microsoft.com/office/drawing/2014/main" id="{8A386AE8-DF38-3055-2444-0BE446DF5B31}"/>
                </a:ext>
              </a:extLst>
            </p:cNvPr>
            <p:cNvSpPr/>
            <p:nvPr/>
          </p:nvSpPr>
          <p:spPr>
            <a:xfrm>
              <a:off x="277754" y="2839445"/>
              <a:ext cx="10911076" cy="461665"/>
            </a:xfrm>
            <a:prstGeom prst="rect">
              <a:avLst/>
            </a:prstGeom>
          </p:spPr>
          <p:txBody>
            <a:bodyPr wrap="square">
              <a:spAutoFit/>
            </a:bodyPr>
            <a:lstStyle/>
            <a:p>
              <a:pPr algn="just">
                <a:buNone/>
              </a:pPr>
              <a:r>
                <a:rPr lang="es-CL" sz="1200" b="1" kern="0">
                  <a:solidFill>
                    <a:srgbClr val="8200FE"/>
                  </a:solidFill>
                  <a:effectLst/>
                  <a:latin typeface="Poppins" panose="00000500000000000000" pitchFamily="2" charset="0"/>
                  <a:ea typeface="Times New Roman" panose="02020603050405020304" pitchFamily="18" charset="0"/>
                  <a:cs typeface="Arial" panose="020B0604020202020204" pitchFamily="34" charset="0"/>
                </a:rPr>
                <a:t>Cenco Alto Las Condes</a:t>
              </a:r>
            </a:p>
            <a:p>
              <a:pPr algn="just"/>
              <a:r>
                <a:rPr lang="en-US" sz="1200" b="1" kern="100">
                  <a:solidFill>
                    <a:srgbClr val="002060"/>
                  </a:solidFill>
                  <a:latin typeface="Montserrat" panose="00000500000000000000" pitchFamily="2" charset="0"/>
                  <a:cs typeface="Arial" panose="020B0604020202020204" pitchFamily="34" charset="0"/>
                </a:rPr>
                <a:t>Remodeling of Former Ripley Space</a:t>
              </a:r>
              <a:endParaRPr lang="es-CL" sz="1200" b="1" kern="100">
                <a:solidFill>
                  <a:srgbClr val="002060"/>
                </a:solidFill>
                <a:latin typeface="Montserrat" panose="00000500000000000000" pitchFamily="2" charset="0"/>
                <a:cs typeface="Arial" panose="020B0604020202020204" pitchFamily="34" charset="0"/>
              </a:endParaRPr>
            </a:p>
          </p:txBody>
        </p:sp>
        <p:sp>
          <p:nvSpPr>
            <p:cNvPr id="5" name="CuadroTexto 4">
              <a:extLst>
                <a:ext uri="{FF2B5EF4-FFF2-40B4-BE49-F238E27FC236}">
                  <a16:creationId xmlns:a16="http://schemas.microsoft.com/office/drawing/2014/main" id="{6AC8242F-027F-E73F-F474-662FF7A33762}"/>
                </a:ext>
              </a:extLst>
            </p:cNvPr>
            <p:cNvSpPr txBox="1"/>
            <p:nvPr/>
          </p:nvSpPr>
          <p:spPr>
            <a:xfrm>
              <a:off x="284625" y="3295205"/>
              <a:ext cx="10904205" cy="538609"/>
            </a:xfrm>
            <a:prstGeom prst="rect">
              <a:avLst/>
            </a:prstGeom>
            <a:noFill/>
          </p:spPr>
          <p:txBody>
            <a:bodyPr wrap="square" rtlCol="0">
              <a:spAutoFit/>
            </a:bodyPr>
            <a:lstStyle/>
            <a:p>
              <a:pPr marL="285750" indent="-285750" algn="just">
                <a:spcBef>
                  <a:spcPts val="600"/>
                </a:spcBef>
                <a:buSzPct val="130000"/>
                <a:buBlip>
                  <a:blip r:embed="rId8"/>
                </a:buBlip>
              </a:pPr>
              <a:r>
                <a:rPr lang="en-US" sz="1200">
                  <a:solidFill>
                    <a:schemeClr val="tx2"/>
                  </a:solidFill>
                  <a:latin typeface="Poppins" pitchFamily="2" charset="77"/>
                  <a:cs typeface="Poppins" pitchFamily="2" charset="77"/>
                </a:rPr>
                <a:t>Reconfiguration of the former Ripley store area began.</a:t>
              </a:r>
            </a:p>
            <a:p>
              <a:pPr marL="285750" indent="-285750" algn="just">
                <a:spcBef>
                  <a:spcPts val="600"/>
                </a:spcBef>
                <a:buSzPct val="130000"/>
                <a:buBlip>
                  <a:blip r:embed="rId8"/>
                </a:buBlip>
              </a:pPr>
              <a:r>
                <a:rPr lang="en-US" sz="1200">
                  <a:solidFill>
                    <a:schemeClr val="tx2"/>
                  </a:solidFill>
                  <a:latin typeface="Poppins" pitchFamily="2" charset="77"/>
                  <a:cs typeface="Poppins" pitchFamily="2" charset="77"/>
                </a:rPr>
                <a:t>The works will allow for increased revenue through space optimization, renewing the mall’s offering for its visitors.</a:t>
              </a:r>
              <a:endParaRPr lang="es-CL" sz="1200">
                <a:solidFill>
                  <a:schemeClr val="tx2"/>
                </a:solidFill>
                <a:latin typeface="Poppins" pitchFamily="2" charset="77"/>
                <a:cs typeface="Poppins" pitchFamily="2" charset="77"/>
              </a:endParaRPr>
            </a:p>
          </p:txBody>
        </p:sp>
      </p:grpSp>
      <p:grpSp>
        <p:nvGrpSpPr>
          <p:cNvPr id="7" name="Grupo 6">
            <a:extLst>
              <a:ext uri="{FF2B5EF4-FFF2-40B4-BE49-F238E27FC236}">
                <a16:creationId xmlns:a16="http://schemas.microsoft.com/office/drawing/2014/main" id="{64C072B9-38ED-131A-61BB-46591C3BD2C9}"/>
              </a:ext>
            </a:extLst>
          </p:cNvPr>
          <p:cNvGrpSpPr/>
          <p:nvPr/>
        </p:nvGrpSpPr>
        <p:grpSpPr>
          <a:xfrm>
            <a:off x="279847" y="2237111"/>
            <a:ext cx="11831471" cy="1669559"/>
            <a:chOff x="4659669" y="1249108"/>
            <a:chExt cx="7308000" cy="1769424"/>
          </a:xfrm>
        </p:grpSpPr>
        <p:sp>
          <p:nvSpPr>
            <p:cNvPr id="8" name="CuadroTexto 7">
              <a:extLst>
                <a:ext uri="{FF2B5EF4-FFF2-40B4-BE49-F238E27FC236}">
                  <a16:creationId xmlns:a16="http://schemas.microsoft.com/office/drawing/2014/main" id="{CD123C1F-C2B0-0699-057B-B0603020E71A}"/>
                </a:ext>
              </a:extLst>
            </p:cNvPr>
            <p:cNvSpPr txBox="1"/>
            <p:nvPr/>
          </p:nvSpPr>
          <p:spPr>
            <a:xfrm>
              <a:off x="4659669" y="1779024"/>
              <a:ext cx="6738203" cy="1239508"/>
            </a:xfrm>
            <a:prstGeom prst="rect">
              <a:avLst/>
            </a:prstGeom>
            <a:noFill/>
          </p:spPr>
          <p:txBody>
            <a:bodyPr wrap="square" rtlCol="0">
              <a:spAutoFit/>
            </a:bodyPr>
            <a:lstStyle/>
            <a:p>
              <a:pPr marL="285750" indent="-285750" algn="just">
                <a:spcBef>
                  <a:spcPts val="600"/>
                </a:spcBef>
                <a:buSzPct val="130000"/>
                <a:buBlip>
                  <a:blip r:embed="rId8"/>
                </a:buBlip>
              </a:pPr>
              <a:r>
                <a:rPr lang="en-US" sz="1200" dirty="0">
                  <a:solidFill>
                    <a:schemeClr val="tx2"/>
                  </a:solidFill>
                  <a:latin typeface="Poppins" pitchFamily="2" charset="77"/>
                  <a:cs typeface="Poppins" pitchFamily="2" charset="77"/>
                </a:rPr>
                <a:t>A total of 4,200 sqm of new stores were completed in the former Johnson space, while also Auto City continued its progress (~6,000 sqm of additional GLA). Both spaces are in the pre-opening phase, with official openings projected for the second half of 2025.</a:t>
              </a:r>
            </a:p>
            <a:p>
              <a:pPr algn="just">
                <a:spcBef>
                  <a:spcPts val="600"/>
                </a:spcBef>
                <a:buSzPct val="130000"/>
              </a:pPr>
              <a:r>
                <a:rPr lang="en-US" sz="1200" b="1" kern="100" dirty="0">
                  <a:solidFill>
                    <a:srgbClr val="002060"/>
                  </a:solidFill>
                  <a:latin typeface="Montserrat" panose="00000500000000000000" pitchFamily="2" charset="0"/>
                  <a:cs typeface="Arial" panose="020B0604020202020204" pitchFamily="34" charset="0"/>
                </a:rPr>
                <a:t>Gastronomic Hub </a:t>
              </a:r>
              <a:r>
                <a:rPr lang="es-CL" sz="1200" b="1" kern="100" dirty="0">
                  <a:solidFill>
                    <a:srgbClr val="002060"/>
                  </a:solidFill>
                  <a:latin typeface="Montserrat" panose="00000500000000000000" pitchFamily="2" charset="0"/>
                  <a:cs typeface="Arial" panose="020B0604020202020204" pitchFamily="34" charset="0"/>
                </a:rPr>
                <a:t>at </a:t>
              </a:r>
              <a:r>
                <a:rPr lang="es-CL" sz="1200" b="1" kern="100" dirty="0" err="1">
                  <a:solidFill>
                    <a:srgbClr val="002060"/>
                  </a:solidFill>
                  <a:latin typeface="Montserrat" panose="00000500000000000000" pitchFamily="2" charset="0"/>
                  <a:cs typeface="Arial" panose="020B0604020202020204" pitchFamily="34" charset="0"/>
                </a:rPr>
                <a:t>Former</a:t>
              </a:r>
              <a:r>
                <a:rPr lang="es-CL" sz="1200" b="1" kern="100" dirty="0">
                  <a:solidFill>
                    <a:srgbClr val="002060"/>
                  </a:solidFill>
                  <a:latin typeface="Montserrat" panose="00000500000000000000" pitchFamily="2" charset="0"/>
                  <a:cs typeface="Arial" panose="020B0604020202020204" pitchFamily="34" charset="0"/>
                </a:rPr>
                <a:t> La Polar </a:t>
              </a:r>
              <a:r>
                <a:rPr lang="es-CL" sz="1200" b="1" kern="100" dirty="0" err="1">
                  <a:solidFill>
                    <a:srgbClr val="002060"/>
                  </a:solidFill>
                  <a:latin typeface="Montserrat" panose="00000500000000000000" pitchFamily="2" charset="0"/>
                  <a:cs typeface="Arial" panose="020B0604020202020204" pitchFamily="34" charset="0"/>
                </a:rPr>
                <a:t>Space</a:t>
              </a:r>
              <a:endParaRPr lang="es-CL" sz="1200" b="1" kern="100" dirty="0">
                <a:solidFill>
                  <a:srgbClr val="002060"/>
                </a:solidFill>
                <a:latin typeface="Montserrat" panose="00000500000000000000" pitchFamily="2" charset="0"/>
                <a:cs typeface="Arial" panose="020B0604020202020204" pitchFamily="34" charset="0"/>
              </a:endParaRPr>
            </a:p>
            <a:p>
              <a:pPr marL="285750" indent="-285750" algn="just">
                <a:spcBef>
                  <a:spcPts val="600"/>
                </a:spcBef>
                <a:buSzPct val="130000"/>
                <a:buBlip>
                  <a:blip r:embed="rId8"/>
                </a:buBlip>
              </a:pPr>
              <a:r>
                <a:rPr lang="en-US" sz="1200" dirty="0">
                  <a:solidFill>
                    <a:schemeClr val="tx2"/>
                  </a:solidFill>
                  <a:latin typeface="Poppins" pitchFamily="2" charset="77"/>
                  <a:cs typeface="Poppins" pitchFamily="2" charset="77"/>
                </a:rPr>
                <a:t>Construction of Phase 1 of the new gastronomic hub has begun, involving approximately 4,000 sqm of GLA in the former La Polar space. The project aims to diversify the service offering and strengthen visitor traffic.</a:t>
              </a:r>
              <a:endParaRPr lang="es-CL" sz="1200" dirty="0">
                <a:solidFill>
                  <a:schemeClr val="tx2"/>
                </a:solidFill>
                <a:latin typeface="Poppins" pitchFamily="2" charset="77"/>
                <a:cs typeface="Poppins" pitchFamily="2" charset="77"/>
              </a:endParaRPr>
            </a:p>
          </p:txBody>
        </p:sp>
        <p:sp>
          <p:nvSpPr>
            <p:cNvPr id="9" name="Rectángulo 8">
              <a:extLst>
                <a:ext uri="{FF2B5EF4-FFF2-40B4-BE49-F238E27FC236}">
                  <a16:creationId xmlns:a16="http://schemas.microsoft.com/office/drawing/2014/main" id="{29DA3ABB-07AF-92E3-B8D1-93646D8FFE9C}"/>
                </a:ext>
              </a:extLst>
            </p:cNvPr>
            <p:cNvSpPr/>
            <p:nvPr/>
          </p:nvSpPr>
          <p:spPr>
            <a:xfrm>
              <a:off x="4659669" y="1249108"/>
              <a:ext cx="7308000" cy="489280"/>
            </a:xfrm>
            <a:prstGeom prst="rect">
              <a:avLst/>
            </a:prstGeom>
          </p:spPr>
          <p:txBody>
            <a:bodyPr wrap="square">
              <a:spAutoFit/>
            </a:bodyPr>
            <a:lstStyle/>
            <a:p>
              <a:pPr algn="just">
                <a:buNone/>
              </a:pPr>
              <a:r>
                <a:rPr lang="es-CL" sz="1200" b="1" kern="0">
                  <a:solidFill>
                    <a:srgbClr val="8200FE"/>
                  </a:solidFill>
                  <a:effectLst/>
                  <a:latin typeface="Poppins" panose="00000500000000000000" pitchFamily="2" charset="0"/>
                  <a:ea typeface="Times New Roman" panose="02020603050405020304" pitchFamily="18" charset="0"/>
                  <a:cs typeface="Arial" panose="020B0604020202020204" pitchFamily="34" charset="0"/>
                </a:rPr>
                <a:t>Cenco Florida</a:t>
              </a:r>
            </a:p>
            <a:p>
              <a:pPr algn="just">
                <a:buNone/>
              </a:pPr>
              <a:r>
                <a:rPr lang="en-US" sz="1200" b="1" kern="100">
                  <a:solidFill>
                    <a:srgbClr val="002060"/>
                  </a:solidFill>
                  <a:latin typeface="Montserrat" panose="00000500000000000000" pitchFamily="2" charset="0"/>
                  <a:cs typeface="Arial" panose="020B0604020202020204" pitchFamily="34" charset="0"/>
                </a:rPr>
                <a:t>Opening of Stores in Former Johnson Space and Progress of Auto City</a:t>
              </a:r>
              <a:endParaRPr lang="es-CL" sz="1200" b="1" kern="100">
                <a:solidFill>
                  <a:srgbClr val="002060"/>
                </a:solidFill>
                <a:latin typeface="Montserrat" panose="00000500000000000000" pitchFamily="2" charset="0"/>
                <a:cs typeface="Arial" panose="020B0604020202020204" pitchFamily="34" charset="0"/>
              </a:endParaRPr>
            </a:p>
          </p:txBody>
        </p:sp>
      </p:grpSp>
      <p:sp>
        <p:nvSpPr>
          <p:cNvPr id="2" name="CuadroTexto 1">
            <a:extLst>
              <a:ext uri="{FF2B5EF4-FFF2-40B4-BE49-F238E27FC236}">
                <a16:creationId xmlns:a16="http://schemas.microsoft.com/office/drawing/2014/main" id="{BEBA91AF-37B8-66B9-ADA9-AE0087EA08CE}"/>
              </a:ext>
            </a:extLst>
          </p:cNvPr>
          <p:cNvSpPr txBox="1"/>
          <p:nvPr/>
        </p:nvSpPr>
        <p:spPr>
          <a:xfrm>
            <a:off x="491796" y="207049"/>
            <a:ext cx="7388180" cy="553998"/>
          </a:xfrm>
          <a:prstGeom prst="rect">
            <a:avLst/>
          </a:prstGeom>
          <a:noFill/>
        </p:spPr>
        <p:txBody>
          <a:bodyPr wrap="square" rtlCol="0">
            <a:spAutoFit/>
          </a:bodyPr>
          <a:lstStyle/>
          <a:p>
            <a:r>
              <a:rPr lang="es-CL" sz="3000" b="1">
                <a:solidFill>
                  <a:schemeClr val="accent3"/>
                </a:solidFill>
                <a:latin typeface="Poppins" pitchFamily="2" charset="77"/>
                <a:cs typeface="Poppins" pitchFamily="2" charset="77"/>
              </a:rPr>
              <a:t>1.4</a:t>
            </a:r>
            <a:r>
              <a:rPr lang="es-CL" sz="3000" b="1">
                <a:solidFill>
                  <a:schemeClr val="accent2"/>
                </a:solidFill>
                <a:latin typeface="Poppins" pitchFamily="2" charset="77"/>
                <a:cs typeface="Poppins" pitchFamily="2" charset="77"/>
              </a:rPr>
              <a:t> </a:t>
            </a:r>
            <a:r>
              <a:rPr lang="es-CL" sz="3000" b="1" err="1">
                <a:solidFill>
                  <a:srgbClr val="021766"/>
                </a:solidFill>
                <a:latin typeface="Poppins" pitchFamily="2" charset="77"/>
                <a:cs typeface="Poppins" pitchFamily="2" charset="77"/>
              </a:rPr>
              <a:t>Investment</a:t>
            </a:r>
            <a:r>
              <a:rPr lang="es-CL" sz="3000" b="1">
                <a:solidFill>
                  <a:srgbClr val="021766"/>
                </a:solidFill>
                <a:latin typeface="Poppins" pitchFamily="2" charset="77"/>
                <a:cs typeface="Poppins" pitchFamily="2" charset="77"/>
              </a:rPr>
              <a:t> Plan Key </a:t>
            </a:r>
            <a:r>
              <a:rPr lang="es-CL" sz="3000" b="1" err="1">
                <a:solidFill>
                  <a:srgbClr val="021766"/>
                </a:solidFill>
                <a:latin typeface="Poppins" pitchFamily="2" charset="77"/>
                <a:cs typeface="Poppins" pitchFamily="2" charset="77"/>
              </a:rPr>
              <a:t>Progress</a:t>
            </a:r>
            <a:endParaRPr lang="es-CL" sz="3000" b="1">
              <a:solidFill>
                <a:srgbClr val="021766"/>
              </a:solidFill>
              <a:latin typeface="Poppins" pitchFamily="2" charset="77"/>
              <a:cs typeface="Poppins" pitchFamily="2" charset="77"/>
            </a:endParaRPr>
          </a:p>
        </p:txBody>
      </p:sp>
      <p:sp>
        <p:nvSpPr>
          <p:cNvPr id="10" name="Marcador de número de diapositiva 1">
            <a:extLst>
              <a:ext uri="{FF2B5EF4-FFF2-40B4-BE49-F238E27FC236}">
                <a16:creationId xmlns:a16="http://schemas.microsoft.com/office/drawing/2014/main" id="{BE27BFF3-26A4-3D05-EEFC-5516A8B69490}"/>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6</a:t>
            </a:fld>
            <a:endParaRPr lang="es-CL"/>
          </a:p>
        </p:txBody>
      </p:sp>
      <p:sp>
        <p:nvSpPr>
          <p:cNvPr id="3" name="Título 1">
            <a:extLst>
              <a:ext uri="{FF2B5EF4-FFF2-40B4-BE49-F238E27FC236}">
                <a16:creationId xmlns:a16="http://schemas.microsoft.com/office/drawing/2014/main" id="{5D8F38A9-D7C0-060A-B248-D7DD7E0E27F2}"/>
              </a:ext>
            </a:extLst>
          </p:cNvPr>
          <p:cNvSpPr txBox="1">
            <a:spLocks/>
          </p:cNvSpPr>
          <p:nvPr/>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tx2"/>
                </a:solidFill>
                <a:latin typeface="Poppins" pitchFamily="2" charset="77"/>
                <a:cs typeface="Poppins" pitchFamily="2" charset="77"/>
              </a:rPr>
              <a:t>Earning</a:t>
            </a:r>
            <a:r>
              <a:rPr lang="es-MX" sz="800" b="1">
                <a:solidFill>
                  <a:schemeClr val="tx2"/>
                </a:solidFill>
                <a:latin typeface="Poppins" pitchFamily="2" charset="77"/>
                <a:cs typeface="Poppins" pitchFamily="2" charset="77"/>
              </a:rPr>
              <a:t> </a:t>
            </a:r>
            <a:r>
              <a:rPr lang="es-MX" sz="800" b="1" err="1">
                <a:solidFill>
                  <a:schemeClr val="tx2"/>
                </a:solidFill>
                <a:latin typeface="Poppins" pitchFamily="2" charset="77"/>
                <a:cs typeface="Poppins" pitchFamily="2" charset="77"/>
              </a:rPr>
              <a:t>Presentation</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First</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Quarter</a:t>
            </a:r>
            <a:r>
              <a:rPr lang="es-MX" sz="800" b="0">
                <a:solidFill>
                  <a:schemeClr val="tx2"/>
                </a:solidFill>
                <a:latin typeface="Poppins" pitchFamily="2" charset="77"/>
                <a:cs typeface="Poppins" pitchFamily="2" charset="77"/>
              </a:rPr>
              <a:t> 2025</a:t>
            </a:r>
            <a:endParaRPr lang="es-CL" sz="800" b="0">
              <a:solidFill>
                <a:schemeClr val="tx2"/>
              </a:solidFill>
              <a:latin typeface="Poppins" pitchFamily="2" charset="77"/>
              <a:cs typeface="Poppins" pitchFamily="2" charset="77"/>
            </a:endParaRPr>
          </a:p>
        </p:txBody>
      </p:sp>
    </p:spTree>
    <p:extLst>
      <p:ext uri="{BB962C8B-B14F-4D97-AF65-F5344CB8AC3E}">
        <p14:creationId xmlns:p14="http://schemas.microsoft.com/office/powerpoint/2010/main" val="21884821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6DE140-D9F8-18E8-ECEF-9153A7186E6A}"/>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7C95EF7-D33D-4460-BB74-8AE2BDCA7061}"/>
              </a:ext>
            </a:extLst>
          </p:cNvPr>
          <p:cNvGraphicFramePr>
            <a:graphicFrameLocks noChangeAspect="1"/>
          </p:cNvGraphicFramePr>
          <p:nvPr>
            <p:custDataLst>
              <p:tags r:id="rId1"/>
            </p:custDataLst>
            <p:extLst>
              <p:ext uri="{D42A27DB-BD31-4B8C-83A1-F6EECF244321}">
                <p14:modId xmlns:p14="http://schemas.microsoft.com/office/powerpoint/2010/main" val="2132811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05" imgH="405" progId="TCLayout.ActiveDocument.1">
                  <p:embed/>
                </p:oleObj>
              </mc:Choice>
              <mc:Fallback>
                <p:oleObj name="Diapositiva de think-cell" r:id="rId4" imgW="405" imgH="405" progId="TCLayout.ActiveDocument.1">
                  <p:embed/>
                  <p:pic>
                    <p:nvPicPr>
                      <p:cNvPr id="15" name="think-cell data - do not delete" hidden="1">
                        <a:extLst>
                          <a:ext uri="{FF2B5EF4-FFF2-40B4-BE49-F238E27FC236}">
                            <a16:creationId xmlns:a16="http://schemas.microsoft.com/office/drawing/2014/main" id="{F7C95EF7-D33D-4460-BB74-8AE2BDCA70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rma libre 18">
            <a:extLst>
              <a:ext uri="{FF2B5EF4-FFF2-40B4-BE49-F238E27FC236}">
                <a16:creationId xmlns:a16="http://schemas.microsoft.com/office/drawing/2014/main" id="{118C7DE3-7EDC-6BE0-5DBD-4AD9FB5E7798}"/>
              </a:ext>
            </a:extLst>
          </p:cNvPr>
          <p:cNvSpPr/>
          <p:nvPr/>
        </p:nvSpPr>
        <p:spPr>
          <a:xfrm flipV="1">
            <a:off x="7673788" y="817011"/>
            <a:ext cx="4518212" cy="5537580"/>
          </a:xfrm>
          <a:custGeom>
            <a:avLst/>
            <a:gdLst>
              <a:gd name="connsiteX0" fmla="*/ 1251626 w 1251626"/>
              <a:gd name="connsiteY0" fmla="*/ 408562 h 1562911"/>
              <a:gd name="connsiteX1" fmla="*/ 1251626 w 1251626"/>
              <a:gd name="connsiteY1" fmla="*/ 1562911 h 1562911"/>
              <a:gd name="connsiteX2" fmla="*/ 233464 w 1251626"/>
              <a:gd name="connsiteY2" fmla="*/ 1562911 h 1562911"/>
              <a:gd name="connsiteX3" fmla="*/ 19455 w 1251626"/>
              <a:gd name="connsiteY3" fmla="*/ 1063558 h 1562911"/>
              <a:gd name="connsiteX4" fmla="*/ 265889 w 1251626"/>
              <a:gd name="connsiteY4" fmla="*/ 966281 h 1562911"/>
              <a:gd name="connsiteX5" fmla="*/ 0 w 1251626"/>
              <a:gd name="connsiteY5" fmla="*/ 700392 h 1562911"/>
              <a:gd name="connsiteX6" fmla="*/ 804153 w 1251626"/>
              <a:gd name="connsiteY6" fmla="*/ 0 h 1562911"/>
              <a:gd name="connsiteX7" fmla="*/ 1251626 w 1251626"/>
              <a:gd name="connsiteY7" fmla="*/ 408562 h 156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1626" h="1562911">
                <a:moveTo>
                  <a:pt x="1251626" y="408562"/>
                </a:moveTo>
                <a:lnTo>
                  <a:pt x="1251626" y="1562911"/>
                </a:lnTo>
                <a:lnTo>
                  <a:pt x="233464" y="1562911"/>
                </a:lnTo>
                <a:lnTo>
                  <a:pt x="19455" y="1063558"/>
                </a:lnTo>
                <a:lnTo>
                  <a:pt x="265889" y="966281"/>
                </a:lnTo>
                <a:lnTo>
                  <a:pt x="0" y="700392"/>
                </a:lnTo>
                <a:lnTo>
                  <a:pt x="804153" y="0"/>
                </a:lnTo>
                <a:lnTo>
                  <a:pt x="1251626" y="408562"/>
                </a:lnTo>
                <a:close/>
              </a:path>
            </a:pathLst>
          </a:custGeom>
          <a:solidFill>
            <a:srgbClr val="DA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solidFill>
                <a:srgbClr val="DAEBF2"/>
              </a:solidFill>
            </a:endParaRPr>
          </a:p>
        </p:txBody>
      </p:sp>
      <p:grpSp>
        <p:nvGrpSpPr>
          <p:cNvPr id="21" name="Grupo 20">
            <a:extLst>
              <a:ext uri="{FF2B5EF4-FFF2-40B4-BE49-F238E27FC236}">
                <a16:creationId xmlns:a16="http://schemas.microsoft.com/office/drawing/2014/main" id="{AFEB8D57-903F-3212-C886-CDCEF5835EEC}"/>
              </a:ext>
            </a:extLst>
          </p:cNvPr>
          <p:cNvGrpSpPr/>
          <p:nvPr/>
        </p:nvGrpSpPr>
        <p:grpSpPr>
          <a:xfrm>
            <a:off x="279845" y="2612533"/>
            <a:ext cx="7842197" cy="1223283"/>
            <a:chOff x="4659668" y="1249108"/>
            <a:chExt cx="7435519" cy="1296454"/>
          </a:xfrm>
        </p:grpSpPr>
        <p:sp>
          <p:nvSpPr>
            <p:cNvPr id="22" name="CuadroTexto 21">
              <a:extLst>
                <a:ext uri="{FF2B5EF4-FFF2-40B4-BE49-F238E27FC236}">
                  <a16:creationId xmlns:a16="http://schemas.microsoft.com/office/drawing/2014/main" id="{54D959A2-8656-6689-6B46-A6693EDDD304}"/>
                </a:ext>
              </a:extLst>
            </p:cNvPr>
            <p:cNvSpPr txBox="1"/>
            <p:nvPr/>
          </p:nvSpPr>
          <p:spPr>
            <a:xfrm>
              <a:off x="4659668" y="1779024"/>
              <a:ext cx="7386836" cy="766538"/>
            </a:xfrm>
            <a:prstGeom prst="rect">
              <a:avLst/>
            </a:prstGeom>
            <a:noFill/>
          </p:spPr>
          <p:txBody>
            <a:bodyPr wrap="square" rtlCol="0">
              <a:spAutoFit/>
            </a:bodyPr>
            <a:lstStyle/>
            <a:p>
              <a:pPr marL="285750" indent="-285750" algn="just">
                <a:spcBef>
                  <a:spcPts val="600"/>
                </a:spcBef>
                <a:buSzPct val="130000"/>
                <a:buBlip>
                  <a:blip r:embed="rId6"/>
                </a:buBlip>
              </a:pPr>
              <a:r>
                <a:rPr lang="en-US" sz="1200">
                  <a:solidFill>
                    <a:schemeClr val="tx2"/>
                  </a:solidFill>
                  <a:latin typeface="Poppins" pitchFamily="2" charset="77"/>
                  <a:cs typeface="Poppins" pitchFamily="2" charset="77"/>
                </a:rPr>
                <a:t>New paid parking operations were launched at the Concha y Toro and San Bernardo Power Centers.</a:t>
              </a:r>
            </a:p>
            <a:p>
              <a:pPr marL="285750" indent="-285750" algn="just">
                <a:spcBef>
                  <a:spcPts val="600"/>
                </a:spcBef>
                <a:buSzPct val="130000"/>
                <a:buBlip>
                  <a:blip r:embed="rId6"/>
                </a:buBlip>
              </a:pPr>
              <a:r>
                <a:rPr lang="en-US" sz="1200">
                  <a:solidFill>
                    <a:schemeClr val="tx2"/>
                  </a:solidFill>
                  <a:latin typeface="Poppins" pitchFamily="2" charset="77"/>
                  <a:cs typeface="Poppins" pitchFamily="2" charset="77"/>
                </a:rPr>
                <a:t>These </a:t>
              </a:r>
              <a:r>
                <a:rPr lang="en-US" sz="1200" err="1">
                  <a:solidFill>
                    <a:schemeClr val="tx2"/>
                  </a:solidFill>
                  <a:latin typeface="Poppins" pitchFamily="2" charset="77"/>
                  <a:cs typeface="Poppins" pitchFamily="2" charset="77"/>
                </a:rPr>
                <a:t>lauches</a:t>
              </a:r>
              <a:r>
                <a:rPr lang="en-US" sz="1200">
                  <a:solidFill>
                    <a:schemeClr val="tx2"/>
                  </a:solidFill>
                  <a:latin typeface="Poppins" pitchFamily="2" charset="77"/>
                  <a:cs typeface="Poppins" pitchFamily="2" charset="77"/>
                </a:rPr>
                <a:t> optimize customer service and improve operational profitability.</a:t>
              </a:r>
              <a:endParaRPr lang="es-CL" sz="1200">
                <a:solidFill>
                  <a:schemeClr val="tx2"/>
                </a:solidFill>
                <a:latin typeface="Poppins" pitchFamily="2" charset="77"/>
                <a:cs typeface="Poppins" pitchFamily="2" charset="77"/>
              </a:endParaRPr>
            </a:p>
          </p:txBody>
        </p:sp>
        <p:sp>
          <p:nvSpPr>
            <p:cNvPr id="23" name="Rectángulo 22">
              <a:extLst>
                <a:ext uri="{FF2B5EF4-FFF2-40B4-BE49-F238E27FC236}">
                  <a16:creationId xmlns:a16="http://schemas.microsoft.com/office/drawing/2014/main" id="{11779A6D-C527-3206-C8D5-7AC873714918}"/>
                </a:ext>
              </a:extLst>
            </p:cNvPr>
            <p:cNvSpPr/>
            <p:nvPr/>
          </p:nvSpPr>
          <p:spPr>
            <a:xfrm>
              <a:off x="4659669" y="1249108"/>
              <a:ext cx="7435518" cy="489280"/>
            </a:xfrm>
            <a:prstGeom prst="rect">
              <a:avLst/>
            </a:prstGeom>
          </p:spPr>
          <p:txBody>
            <a:bodyPr wrap="square">
              <a:spAutoFit/>
            </a:bodyPr>
            <a:lstStyle/>
            <a:p>
              <a:pPr algn="just">
                <a:buNone/>
              </a:pPr>
              <a:r>
                <a:rPr lang="es-CL" sz="1200" b="1" kern="0">
                  <a:solidFill>
                    <a:srgbClr val="8200FE"/>
                  </a:solidFill>
                  <a:effectLst/>
                  <a:latin typeface="Poppins" panose="00000500000000000000" pitchFamily="2" charset="0"/>
                  <a:ea typeface="Times New Roman" panose="02020603050405020304" pitchFamily="18" charset="0"/>
                  <a:cs typeface="Arial" panose="020B0604020202020204" pitchFamily="34" charset="0"/>
                </a:rPr>
                <a:t>Parking</a:t>
              </a:r>
            </a:p>
            <a:p>
              <a:pPr algn="just">
                <a:buNone/>
              </a:pPr>
              <a:r>
                <a:rPr lang="en-US" sz="1200" b="1" kern="100">
                  <a:solidFill>
                    <a:srgbClr val="002060"/>
                  </a:solidFill>
                  <a:latin typeface="Montserrat" panose="00000500000000000000" pitchFamily="2" charset="0"/>
                  <a:cs typeface="Arial" panose="020B0604020202020204" pitchFamily="34" charset="0"/>
                </a:rPr>
                <a:t>Launch of New Parking Operations at Power Centers – Concha y Toro and San Bernardo</a:t>
              </a:r>
              <a:endParaRPr lang="es-CL" sz="1200" b="1" kern="100">
                <a:solidFill>
                  <a:srgbClr val="002060"/>
                </a:solidFill>
                <a:latin typeface="Montserrat" panose="00000500000000000000" pitchFamily="2" charset="0"/>
                <a:cs typeface="Arial" panose="020B0604020202020204" pitchFamily="34" charset="0"/>
              </a:endParaRPr>
            </a:p>
          </p:txBody>
        </p:sp>
      </p:grpSp>
      <p:grpSp>
        <p:nvGrpSpPr>
          <p:cNvPr id="24" name="Grupo 23">
            <a:extLst>
              <a:ext uri="{FF2B5EF4-FFF2-40B4-BE49-F238E27FC236}">
                <a16:creationId xmlns:a16="http://schemas.microsoft.com/office/drawing/2014/main" id="{B393389E-CB52-67A2-D4A2-9D055634D2B5}"/>
              </a:ext>
            </a:extLst>
          </p:cNvPr>
          <p:cNvGrpSpPr/>
          <p:nvPr/>
        </p:nvGrpSpPr>
        <p:grpSpPr>
          <a:xfrm>
            <a:off x="280482" y="4162482"/>
            <a:ext cx="7790852" cy="1592615"/>
            <a:chOff x="4659669" y="1249108"/>
            <a:chExt cx="7308000" cy="1687878"/>
          </a:xfrm>
        </p:grpSpPr>
        <p:sp>
          <p:nvSpPr>
            <p:cNvPr id="25" name="CuadroTexto 24">
              <a:extLst>
                <a:ext uri="{FF2B5EF4-FFF2-40B4-BE49-F238E27FC236}">
                  <a16:creationId xmlns:a16="http://schemas.microsoft.com/office/drawing/2014/main" id="{149EFCCE-9E53-FCCB-20DB-97EC20B813FA}"/>
                </a:ext>
              </a:extLst>
            </p:cNvPr>
            <p:cNvSpPr txBox="1"/>
            <p:nvPr/>
          </p:nvSpPr>
          <p:spPr>
            <a:xfrm>
              <a:off x="4659669" y="1779024"/>
              <a:ext cx="7308000" cy="1157962"/>
            </a:xfrm>
            <a:prstGeom prst="rect">
              <a:avLst/>
            </a:prstGeom>
            <a:noFill/>
          </p:spPr>
          <p:txBody>
            <a:bodyPr wrap="square" rtlCol="0">
              <a:spAutoFit/>
            </a:bodyPr>
            <a:lstStyle/>
            <a:p>
              <a:pPr marL="285750" indent="-285750" algn="just">
                <a:spcBef>
                  <a:spcPts val="600"/>
                </a:spcBef>
                <a:buSzPct val="130000"/>
                <a:buBlip>
                  <a:blip r:embed="rId6"/>
                </a:buBlip>
              </a:pPr>
              <a:r>
                <a:rPr lang="en-US" sz="1200" dirty="0">
                  <a:solidFill>
                    <a:schemeClr val="tx2"/>
                  </a:solidFill>
                  <a:latin typeface="Poppins" pitchFamily="2" charset="77"/>
                  <a:cs typeface="Poppins" pitchFamily="2" charset="77"/>
                </a:rPr>
                <a:t>Approval was granted for the fit-out of an additional 25,000 sqm of office space in the Costanera Tower, expanding the total offering to 90,000 sqm, primarily in the Gran Torre Costanera’s high-rise section.</a:t>
              </a:r>
            </a:p>
            <a:p>
              <a:pPr marL="285750" indent="-285750" algn="just">
                <a:spcBef>
                  <a:spcPts val="600"/>
                </a:spcBef>
                <a:buSzPct val="130000"/>
                <a:buBlip>
                  <a:blip r:embed="rId6"/>
                </a:buBlip>
              </a:pPr>
              <a:r>
                <a:rPr lang="en-US" sz="1200" dirty="0">
                  <a:solidFill>
                    <a:schemeClr val="tx2"/>
                  </a:solidFill>
                  <a:latin typeface="Poppins" pitchFamily="2" charset="77"/>
                  <a:cs typeface="Poppins" pitchFamily="2" charset="77"/>
                </a:rPr>
                <a:t>Additionally, a lease agreement was signed for approximately 6,000 sqm with Mercado Libre, reflecting the sustained demand for space in Costanera Tower, the tallest in South America.</a:t>
              </a:r>
              <a:endParaRPr lang="es-CL" sz="1200" dirty="0">
                <a:solidFill>
                  <a:schemeClr val="tx2"/>
                </a:solidFill>
                <a:latin typeface="Poppins" pitchFamily="2" charset="77"/>
                <a:cs typeface="Poppins" pitchFamily="2" charset="77"/>
              </a:endParaRPr>
            </a:p>
          </p:txBody>
        </p:sp>
        <p:sp>
          <p:nvSpPr>
            <p:cNvPr id="26" name="Rectángulo 25">
              <a:extLst>
                <a:ext uri="{FF2B5EF4-FFF2-40B4-BE49-F238E27FC236}">
                  <a16:creationId xmlns:a16="http://schemas.microsoft.com/office/drawing/2014/main" id="{9EAD071E-7D20-8767-16F3-FF8C9D0851D2}"/>
                </a:ext>
              </a:extLst>
            </p:cNvPr>
            <p:cNvSpPr/>
            <p:nvPr/>
          </p:nvSpPr>
          <p:spPr>
            <a:xfrm>
              <a:off x="4659669" y="1249108"/>
              <a:ext cx="7308000" cy="489280"/>
            </a:xfrm>
            <a:prstGeom prst="rect">
              <a:avLst/>
            </a:prstGeom>
          </p:spPr>
          <p:txBody>
            <a:bodyPr wrap="square">
              <a:spAutoFit/>
            </a:bodyPr>
            <a:lstStyle/>
            <a:p>
              <a:pPr algn="just">
                <a:buNone/>
              </a:pPr>
              <a:r>
                <a:rPr lang="es-CL" sz="1200" b="1" kern="0" err="1">
                  <a:solidFill>
                    <a:srgbClr val="8200FE"/>
                  </a:solidFill>
                  <a:effectLst/>
                  <a:latin typeface="Poppins" panose="00000500000000000000" pitchFamily="2" charset="0"/>
                  <a:ea typeface="Times New Roman" panose="02020603050405020304" pitchFamily="18" charset="0"/>
                  <a:cs typeface="Arial" panose="020B0604020202020204" pitchFamily="34" charset="0"/>
                </a:rPr>
                <a:t>Offices</a:t>
              </a:r>
              <a:endParaRPr lang="es-CL" sz="1200" b="1" kern="0">
                <a:solidFill>
                  <a:srgbClr val="8200FE"/>
                </a:solidFill>
                <a:effectLst/>
                <a:latin typeface="Poppins" panose="00000500000000000000" pitchFamily="2" charset="0"/>
                <a:ea typeface="Times New Roman" panose="02020603050405020304" pitchFamily="18" charset="0"/>
                <a:cs typeface="Arial" panose="020B0604020202020204" pitchFamily="34" charset="0"/>
              </a:endParaRPr>
            </a:p>
            <a:p>
              <a:pPr algn="just">
                <a:buNone/>
              </a:pPr>
              <a:r>
                <a:rPr lang="en-US" sz="1200" b="1" kern="100">
                  <a:solidFill>
                    <a:srgbClr val="002060"/>
                  </a:solidFill>
                  <a:latin typeface="Montserrat" panose="00000500000000000000" pitchFamily="2" charset="0"/>
                  <a:cs typeface="Arial" panose="020B0604020202020204" pitchFamily="34" charset="0"/>
                </a:rPr>
                <a:t>Fit-Out Approval for 25,000 sqm in the Tower</a:t>
              </a:r>
              <a:endParaRPr lang="es-CL" sz="1200" b="1" kern="100">
                <a:solidFill>
                  <a:srgbClr val="002060"/>
                </a:solidFill>
                <a:latin typeface="Montserrat" panose="00000500000000000000" pitchFamily="2" charset="0"/>
                <a:cs typeface="Arial" panose="020B0604020202020204" pitchFamily="34" charset="0"/>
              </a:endParaRPr>
            </a:p>
          </p:txBody>
        </p:sp>
      </p:grpSp>
      <p:grpSp>
        <p:nvGrpSpPr>
          <p:cNvPr id="5" name="Grupo 4">
            <a:extLst>
              <a:ext uri="{FF2B5EF4-FFF2-40B4-BE49-F238E27FC236}">
                <a16:creationId xmlns:a16="http://schemas.microsoft.com/office/drawing/2014/main" id="{09D703F7-39A1-2A61-9B32-22F79A933AF0}"/>
              </a:ext>
            </a:extLst>
          </p:cNvPr>
          <p:cNvGrpSpPr/>
          <p:nvPr/>
        </p:nvGrpSpPr>
        <p:grpSpPr>
          <a:xfrm>
            <a:off x="279848" y="1312314"/>
            <a:ext cx="7842831" cy="1038617"/>
            <a:chOff x="4659669" y="1249108"/>
            <a:chExt cx="7356761" cy="1100742"/>
          </a:xfrm>
        </p:grpSpPr>
        <p:sp>
          <p:nvSpPr>
            <p:cNvPr id="6" name="CuadroTexto 5">
              <a:extLst>
                <a:ext uri="{FF2B5EF4-FFF2-40B4-BE49-F238E27FC236}">
                  <a16:creationId xmlns:a16="http://schemas.microsoft.com/office/drawing/2014/main" id="{5CC4EBB0-69BE-3BED-F9CA-DE9B58A2281D}"/>
                </a:ext>
              </a:extLst>
            </p:cNvPr>
            <p:cNvSpPr txBox="1"/>
            <p:nvPr/>
          </p:nvSpPr>
          <p:spPr>
            <a:xfrm>
              <a:off x="4659669" y="1779024"/>
              <a:ext cx="7356761" cy="570826"/>
            </a:xfrm>
            <a:prstGeom prst="rect">
              <a:avLst/>
            </a:prstGeom>
            <a:noFill/>
          </p:spPr>
          <p:txBody>
            <a:bodyPr wrap="square" rtlCol="0">
              <a:spAutoFit/>
            </a:bodyPr>
            <a:lstStyle/>
            <a:p>
              <a:pPr marL="285750" indent="-285750" algn="just">
                <a:spcBef>
                  <a:spcPts val="600"/>
                </a:spcBef>
                <a:buSzPct val="130000"/>
                <a:buBlip>
                  <a:blip r:embed="rId6"/>
                </a:buBlip>
              </a:pPr>
              <a:r>
                <a:rPr lang="en-US" sz="1200">
                  <a:solidFill>
                    <a:schemeClr val="tx2"/>
                  </a:solidFill>
                  <a:latin typeface="Poppins" pitchFamily="2" charset="77"/>
                  <a:cs typeface="Poppins" pitchFamily="2" charset="77"/>
                </a:rPr>
                <a:t>Significant progress was made on the expansion works, in line with the established schedule.</a:t>
              </a:r>
            </a:p>
            <a:p>
              <a:pPr marL="285750" indent="-285750" algn="just">
                <a:spcBef>
                  <a:spcPts val="600"/>
                </a:spcBef>
                <a:buSzPct val="130000"/>
                <a:buBlip>
                  <a:blip r:embed="rId6"/>
                </a:buBlip>
              </a:pPr>
              <a:r>
                <a:rPr lang="en-US" sz="1200">
                  <a:solidFill>
                    <a:schemeClr val="tx2"/>
                  </a:solidFill>
                  <a:latin typeface="Poppins" pitchFamily="2" charset="77"/>
                  <a:cs typeface="Poppins" pitchFamily="2" charset="77"/>
                </a:rPr>
                <a:t>The project includes over 11,000 sqm of expansion, with completion projected for 2H25.</a:t>
              </a:r>
              <a:endParaRPr lang="es-CL" sz="1200">
                <a:solidFill>
                  <a:schemeClr val="tx2"/>
                </a:solidFill>
                <a:latin typeface="Poppins" pitchFamily="2" charset="77"/>
                <a:cs typeface="Poppins" pitchFamily="2" charset="77"/>
              </a:endParaRPr>
            </a:p>
          </p:txBody>
        </p:sp>
        <p:sp>
          <p:nvSpPr>
            <p:cNvPr id="7" name="Rectángulo 6">
              <a:extLst>
                <a:ext uri="{FF2B5EF4-FFF2-40B4-BE49-F238E27FC236}">
                  <a16:creationId xmlns:a16="http://schemas.microsoft.com/office/drawing/2014/main" id="{C209D468-DC7D-DD95-829E-E19BFB7BD496}"/>
                </a:ext>
              </a:extLst>
            </p:cNvPr>
            <p:cNvSpPr/>
            <p:nvPr/>
          </p:nvSpPr>
          <p:spPr>
            <a:xfrm>
              <a:off x="4659669" y="1249108"/>
              <a:ext cx="7308000" cy="489280"/>
            </a:xfrm>
            <a:prstGeom prst="rect">
              <a:avLst/>
            </a:prstGeom>
          </p:spPr>
          <p:txBody>
            <a:bodyPr wrap="square">
              <a:spAutoFit/>
            </a:bodyPr>
            <a:lstStyle/>
            <a:p>
              <a:pPr algn="just">
                <a:buNone/>
              </a:pPr>
              <a:r>
                <a:rPr lang="es-CL" sz="1200" b="1" kern="0">
                  <a:solidFill>
                    <a:srgbClr val="8200FE"/>
                  </a:solidFill>
                  <a:effectLst/>
                  <a:latin typeface="Poppins" panose="00000500000000000000" pitchFamily="2" charset="0"/>
                  <a:ea typeface="Times New Roman" panose="02020603050405020304" pitchFamily="18" charset="0"/>
                  <a:cs typeface="Arial" panose="020B0604020202020204" pitchFamily="34" charset="0"/>
                </a:rPr>
                <a:t>Cenco Limonar (Cali, Colombia)</a:t>
              </a:r>
            </a:p>
            <a:p>
              <a:pPr algn="just">
                <a:buNone/>
              </a:pPr>
              <a:r>
                <a:rPr lang="es-CL" sz="1200" b="1" kern="100" err="1">
                  <a:solidFill>
                    <a:srgbClr val="002060"/>
                  </a:solidFill>
                  <a:latin typeface="Montserrat" panose="00000500000000000000" pitchFamily="2" charset="0"/>
                  <a:cs typeface="Arial" panose="020B0604020202020204" pitchFamily="34" charset="0"/>
                </a:rPr>
                <a:t>Progress</a:t>
              </a:r>
              <a:r>
                <a:rPr lang="es-CL" sz="1200" b="1" kern="100">
                  <a:solidFill>
                    <a:srgbClr val="002060"/>
                  </a:solidFill>
                  <a:latin typeface="Montserrat" panose="00000500000000000000" pitchFamily="2" charset="0"/>
                  <a:cs typeface="Arial" panose="020B0604020202020204" pitchFamily="34" charset="0"/>
                </a:rPr>
                <a:t> </a:t>
              </a:r>
              <a:r>
                <a:rPr lang="es-CL" sz="1200" b="1" kern="100" err="1">
                  <a:solidFill>
                    <a:srgbClr val="002060"/>
                  </a:solidFill>
                  <a:latin typeface="Montserrat" panose="00000500000000000000" pitchFamily="2" charset="0"/>
                  <a:cs typeface="Arial" panose="020B0604020202020204" pitchFamily="34" charset="0"/>
                </a:rPr>
                <a:t>on</a:t>
              </a:r>
              <a:r>
                <a:rPr lang="es-CL" sz="1200" b="1" kern="100">
                  <a:solidFill>
                    <a:srgbClr val="002060"/>
                  </a:solidFill>
                  <a:latin typeface="Montserrat" panose="00000500000000000000" pitchFamily="2" charset="0"/>
                  <a:cs typeface="Arial" panose="020B0604020202020204" pitchFamily="34" charset="0"/>
                </a:rPr>
                <a:t> </a:t>
              </a:r>
              <a:r>
                <a:rPr lang="es-CL" sz="1200" b="1" kern="100" err="1">
                  <a:solidFill>
                    <a:srgbClr val="002060"/>
                  </a:solidFill>
                  <a:latin typeface="Montserrat" panose="00000500000000000000" pitchFamily="2" charset="0"/>
                  <a:cs typeface="Arial" panose="020B0604020202020204" pitchFamily="34" charset="0"/>
                </a:rPr>
                <a:t>Expansion</a:t>
              </a:r>
              <a:r>
                <a:rPr lang="es-CL" sz="1200" b="1" kern="100">
                  <a:solidFill>
                    <a:srgbClr val="002060"/>
                  </a:solidFill>
                  <a:latin typeface="Montserrat" panose="00000500000000000000" pitchFamily="2" charset="0"/>
                  <a:cs typeface="Arial" panose="020B0604020202020204" pitchFamily="34" charset="0"/>
                </a:rPr>
                <a:t> Works</a:t>
              </a:r>
            </a:p>
          </p:txBody>
        </p:sp>
      </p:grpSp>
      <p:pic>
        <p:nvPicPr>
          <p:cNvPr id="10" name="Imagen 9" descr="Vista de una ciudad desde lo alto de una montaña&#10;&#10;El contenido generado por IA puede ser incorrecto.">
            <a:extLst>
              <a:ext uri="{FF2B5EF4-FFF2-40B4-BE49-F238E27FC236}">
                <a16:creationId xmlns:a16="http://schemas.microsoft.com/office/drawing/2014/main" id="{910C47B8-F6EC-C58D-66CA-9509441AFDEA}"/>
              </a:ext>
            </a:extLst>
          </p:cNvPr>
          <p:cNvPicPr>
            <a:picLocks noChangeAspect="1"/>
          </p:cNvPicPr>
          <p:nvPr/>
        </p:nvPicPr>
        <p:blipFill>
          <a:blip r:embed="rId7"/>
          <a:srcRect l="8878" r="8044"/>
          <a:stretch/>
        </p:blipFill>
        <p:spPr>
          <a:xfrm>
            <a:off x="8122680" y="2651761"/>
            <a:ext cx="3901051" cy="3515868"/>
          </a:xfrm>
          <a:custGeom>
            <a:avLst/>
            <a:gdLst>
              <a:gd name="connsiteX0" fmla="*/ 2929374 w 3557017"/>
              <a:gd name="connsiteY0" fmla="*/ 0 h 3205803"/>
              <a:gd name="connsiteX1" fmla="*/ 3105441 w 3557017"/>
              <a:gd name="connsiteY1" fmla="*/ 0 h 3205803"/>
              <a:gd name="connsiteX2" fmla="*/ 3141688 w 3557017"/>
              <a:gd name="connsiteY2" fmla="*/ 286823 h 3205803"/>
              <a:gd name="connsiteX3" fmla="*/ 3557017 w 3557017"/>
              <a:gd name="connsiteY3" fmla="*/ 76006 h 3205803"/>
              <a:gd name="connsiteX4" fmla="*/ 3505102 w 3557017"/>
              <a:gd name="connsiteY4" fmla="*/ 2573358 h 3205803"/>
              <a:gd name="connsiteX5" fmla="*/ 3284458 w 3557017"/>
              <a:gd name="connsiteY5" fmla="*/ 2767956 h 3205803"/>
              <a:gd name="connsiteX6" fmla="*/ 3323394 w 3557017"/>
              <a:gd name="connsiteY6" fmla="*/ 3205803 h 3205803"/>
              <a:gd name="connsiteX7" fmla="*/ 65657 w 3557017"/>
              <a:gd name="connsiteY7" fmla="*/ 3205803 h 3205803"/>
              <a:gd name="connsiteX8" fmla="*/ 0 w 3557017"/>
              <a:gd name="connsiteY8" fmla="*/ 2918683 h 3205803"/>
              <a:gd name="connsiteX9" fmla="*/ 0 w 3557017"/>
              <a:gd name="connsiteY9" fmla="*/ 1375948 h 3205803"/>
              <a:gd name="connsiteX10" fmla="*/ 130551 w 3557017"/>
              <a:gd name="connsiteY10" fmla="*/ 1324683 h 3205803"/>
              <a:gd name="connsiteX11" fmla="*/ 65657 w 3557017"/>
              <a:gd name="connsiteY11" fmla="*/ 351688 h 3205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57017" h="3205803">
                <a:moveTo>
                  <a:pt x="2929374" y="0"/>
                </a:moveTo>
                <a:lnTo>
                  <a:pt x="3105441" y="0"/>
                </a:lnTo>
                <a:lnTo>
                  <a:pt x="3141688" y="286823"/>
                </a:lnTo>
                <a:lnTo>
                  <a:pt x="3557017" y="76006"/>
                </a:lnTo>
                <a:lnTo>
                  <a:pt x="3505102" y="2573358"/>
                </a:lnTo>
                <a:lnTo>
                  <a:pt x="3284458" y="2767956"/>
                </a:lnTo>
                <a:lnTo>
                  <a:pt x="3323394" y="3205803"/>
                </a:lnTo>
                <a:lnTo>
                  <a:pt x="65657" y="3205803"/>
                </a:lnTo>
                <a:lnTo>
                  <a:pt x="0" y="2918683"/>
                </a:lnTo>
                <a:lnTo>
                  <a:pt x="0" y="1375948"/>
                </a:lnTo>
                <a:lnTo>
                  <a:pt x="130551" y="1324683"/>
                </a:lnTo>
                <a:lnTo>
                  <a:pt x="65657" y="351688"/>
                </a:lnTo>
                <a:close/>
              </a:path>
            </a:pathLst>
          </a:custGeom>
        </p:spPr>
      </p:pic>
      <p:sp>
        <p:nvSpPr>
          <p:cNvPr id="2" name="CuadroTexto 1">
            <a:extLst>
              <a:ext uri="{FF2B5EF4-FFF2-40B4-BE49-F238E27FC236}">
                <a16:creationId xmlns:a16="http://schemas.microsoft.com/office/drawing/2014/main" id="{052C5BF8-DCEE-FB6B-B3BE-10DA84334480}"/>
              </a:ext>
            </a:extLst>
          </p:cNvPr>
          <p:cNvSpPr txBox="1"/>
          <p:nvPr/>
        </p:nvSpPr>
        <p:spPr>
          <a:xfrm>
            <a:off x="491796" y="207049"/>
            <a:ext cx="6942062" cy="553998"/>
          </a:xfrm>
          <a:prstGeom prst="rect">
            <a:avLst/>
          </a:prstGeom>
          <a:noFill/>
        </p:spPr>
        <p:txBody>
          <a:bodyPr wrap="square" rtlCol="0">
            <a:spAutoFit/>
          </a:bodyPr>
          <a:lstStyle/>
          <a:p>
            <a:r>
              <a:rPr lang="es-CL" sz="3000" b="1">
                <a:solidFill>
                  <a:schemeClr val="accent3"/>
                </a:solidFill>
                <a:latin typeface="Poppins" pitchFamily="2" charset="77"/>
                <a:cs typeface="Poppins" pitchFamily="2" charset="77"/>
              </a:rPr>
              <a:t>1.5</a:t>
            </a:r>
            <a:r>
              <a:rPr lang="es-CL" sz="3000" b="1">
                <a:solidFill>
                  <a:schemeClr val="accent2"/>
                </a:solidFill>
                <a:latin typeface="Poppins" pitchFamily="2" charset="77"/>
                <a:cs typeface="Poppins" pitchFamily="2" charset="77"/>
              </a:rPr>
              <a:t> </a:t>
            </a:r>
            <a:r>
              <a:rPr lang="es-CL" sz="3000" b="1" err="1">
                <a:solidFill>
                  <a:srgbClr val="021766"/>
                </a:solidFill>
                <a:latin typeface="Poppins" pitchFamily="2" charset="77"/>
                <a:cs typeface="Poppins" pitchFamily="2" charset="77"/>
              </a:rPr>
              <a:t>Investment</a:t>
            </a:r>
            <a:r>
              <a:rPr lang="es-CL" sz="3000" b="1">
                <a:solidFill>
                  <a:srgbClr val="021766"/>
                </a:solidFill>
                <a:latin typeface="Poppins" pitchFamily="2" charset="77"/>
                <a:cs typeface="Poppins" pitchFamily="2" charset="77"/>
              </a:rPr>
              <a:t> Plan Key </a:t>
            </a:r>
            <a:r>
              <a:rPr lang="es-CL" sz="3000" b="1" err="1">
                <a:solidFill>
                  <a:srgbClr val="021766"/>
                </a:solidFill>
                <a:latin typeface="Poppins" pitchFamily="2" charset="77"/>
                <a:cs typeface="Poppins" pitchFamily="2" charset="77"/>
              </a:rPr>
              <a:t>Progress</a:t>
            </a:r>
            <a:endParaRPr lang="es-CL" sz="3000" b="1">
              <a:solidFill>
                <a:srgbClr val="021766"/>
              </a:solidFill>
              <a:latin typeface="Poppins" pitchFamily="2" charset="77"/>
              <a:cs typeface="Poppins" pitchFamily="2" charset="77"/>
            </a:endParaRPr>
          </a:p>
        </p:txBody>
      </p:sp>
      <p:sp>
        <p:nvSpPr>
          <p:cNvPr id="3" name="Marcador de número de diapositiva 1">
            <a:extLst>
              <a:ext uri="{FF2B5EF4-FFF2-40B4-BE49-F238E27FC236}">
                <a16:creationId xmlns:a16="http://schemas.microsoft.com/office/drawing/2014/main" id="{D20EBD8F-9D39-7E7B-CABA-86AC8B391BBE}"/>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7</a:t>
            </a:fld>
            <a:endParaRPr lang="es-CL"/>
          </a:p>
        </p:txBody>
      </p:sp>
    </p:spTree>
    <p:extLst>
      <p:ext uri="{BB962C8B-B14F-4D97-AF65-F5344CB8AC3E}">
        <p14:creationId xmlns:p14="http://schemas.microsoft.com/office/powerpoint/2010/main" val="1800967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932BCBF7-EA2A-1C78-C5FA-A4DD41A9ADF9}"/>
              </a:ext>
            </a:extLst>
          </p:cNvPr>
          <p:cNvPicPr>
            <a:picLocks noChangeAspect="1"/>
          </p:cNvPicPr>
          <p:nvPr/>
        </p:nvPicPr>
        <p:blipFill>
          <a:blip r:embed="rId4"/>
          <a:stretch>
            <a:fillRect/>
          </a:stretch>
        </p:blipFill>
        <p:spPr>
          <a:xfrm>
            <a:off x="-1" y="0"/>
            <a:ext cx="12191999" cy="6857999"/>
          </a:xfrm>
          <a:prstGeom prst="rect">
            <a:avLst/>
          </a:prstGeom>
        </p:spPr>
      </p:pic>
      <p:graphicFrame>
        <p:nvGraphicFramePr>
          <p:cNvPr id="7" name="think-cell data - do not delete" hidden="1">
            <a:extLst>
              <a:ext uri="{FF2B5EF4-FFF2-40B4-BE49-F238E27FC236}">
                <a16:creationId xmlns:a16="http://schemas.microsoft.com/office/drawing/2014/main" id="{D6671726-3BCD-F3FA-F071-A4A61FC925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95" imgH="396" progId="TCLayout.ActiveDocument.1">
                  <p:embed/>
                </p:oleObj>
              </mc:Choice>
              <mc:Fallback>
                <p:oleObj name="Diapositiva de think-cell" r:id="rId5" imgW="395" imgH="396" progId="TCLayout.ActiveDocument.1">
                  <p:embed/>
                  <p:pic>
                    <p:nvPicPr>
                      <p:cNvPr id="7" name="think-cell data - do not delete" hidden="1">
                        <a:extLst>
                          <a:ext uri="{FF2B5EF4-FFF2-40B4-BE49-F238E27FC236}">
                            <a16:creationId xmlns:a16="http://schemas.microsoft.com/office/drawing/2014/main" id="{D6671726-3BCD-F3FA-F071-A4A61FC925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CuadroTexto 5">
            <a:extLst>
              <a:ext uri="{FF2B5EF4-FFF2-40B4-BE49-F238E27FC236}">
                <a16:creationId xmlns:a16="http://schemas.microsoft.com/office/drawing/2014/main" id="{37E8A552-1792-4F57-06B2-4C789EA07468}"/>
              </a:ext>
            </a:extLst>
          </p:cNvPr>
          <p:cNvSpPr txBox="1"/>
          <p:nvPr/>
        </p:nvSpPr>
        <p:spPr>
          <a:xfrm>
            <a:off x="266504" y="1806961"/>
            <a:ext cx="4350131" cy="1477328"/>
          </a:xfrm>
          <a:prstGeom prst="rect">
            <a:avLst/>
          </a:prstGeom>
          <a:noFill/>
        </p:spPr>
        <p:txBody>
          <a:bodyPr wrap="square" rtlCol="0">
            <a:spAutoFit/>
          </a:bodyPr>
          <a:lstStyle/>
          <a:p>
            <a:pPr>
              <a:lnSpc>
                <a:spcPts val="5400"/>
              </a:lnSpc>
            </a:pPr>
            <a:r>
              <a:rPr lang="es-CL" sz="4800" b="1">
                <a:solidFill>
                  <a:schemeClr val="tx2"/>
                </a:solidFill>
                <a:latin typeface="Poppins" pitchFamily="2" charset="77"/>
                <a:cs typeface="Poppins" pitchFamily="2" charset="77"/>
              </a:rPr>
              <a:t>1Q25 </a:t>
            </a:r>
            <a:br>
              <a:rPr lang="es-CL" sz="4800" b="1">
                <a:solidFill>
                  <a:schemeClr val="tx2"/>
                </a:solidFill>
                <a:latin typeface="Poppins" pitchFamily="2" charset="77"/>
                <a:cs typeface="Poppins" pitchFamily="2" charset="77"/>
              </a:rPr>
            </a:br>
            <a:r>
              <a:rPr lang="es-CL" sz="4800" b="1" err="1">
                <a:solidFill>
                  <a:schemeClr val="tx2"/>
                </a:solidFill>
                <a:latin typeface="Poppins" pitchFamily="2" charset="77"/>
                <a:cs typeface="Poppins" pitchFamily="2" charset="77"/>
              </a:rPr>
              <a:t>Results</a:t>
            </a:r>
            <a:endParaRPr lang="es-CL" sz="4800" b="1">
              <a:solidFill>
                <a:schemeClr val="tx2"/>
              </a:solidFill>
              <a:latin typeface="Poppins" pitchFamily="2" charset="77"/>
              <a:cs typeface="Poppins" pitchFamily="2" charset="77"/>
            </a:endParaRPr>
          </a:p>
        </p:txBody>
      </p:sp>
      <p:sp>
        <p:nvSpPr>
          <p:cNvPr id="8" name="CuadroTexto 7">
            <a:extLst>
              <a:ext uri="{FF2B5EF4-FFF2-40B4-BE49-F238E27FC236}">
                <a16:creationId xmlns:a16="http://schemas.microsoft.com/office/drawing/2014/main" id="{0C914AF9-78DD-C749-CDA8-E52B8966A8BD}"/>
              </a:ext>
            </a:extLst>
          </p:cNvPr>
          <p:cNvSpPr txBox="1"/>
          <p:nvPr/>
        </p:nvSpPr>
        <p:spPr>
          <a:xfrm>
            <a:off x="266503" y="887479"/>
            <a:ext cx="4350131" cy="919482"/>
          </a:xfrm>
          <a:prstGeom prst="rect">
            <a:avLst/>
          </a:prstGeom>
          <a:noFill/>
        </p:spPr>
        <p:txBody>
          <a:bodyPr wrap="square" rtlCol="0">
            <a:spAutoFit/>
          </a:bodyPr>
          <a:lstStyle/>
          <a:p>
            <a:pPr>
              <a:lnSpc>
                <a:spcPts val="5400"/>
              </a:lnSpc>
            </a:pPr>
            <a:r>
              <a:rPr lang="es-CL" sz="8000" b="1">
                <a:solidFill>
                  <a:schemeClr val="accent1"/>
                </a:solidFill>
                <a:latin typeface="Poppins" pitchFamily="2" charset="77"/>
                <a:cs typeface="Poppins" pitchFamily="2" charset="77"/>
              </a:rPr>
              <a:t>02</a:t>
            </a:r>
          </a:p>
        </p:txBody>
      </p:sp>
    </p:spTree>
    <p:extLst>
      <p:ext uri="{BB962C8B-B14F-4D97-AF65-F5344CB8AC3E}">
        <p14:creationId xmlns:p14="http://schemas.microsoft.com/office/powerpoint/2010/main" val="21794456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6671726-3BCD-F3FA-F071-A4A61FC92580}"/>
              </a:ext>
            </a:extLst>
          </p:cNvPr>
          <p:cNvGraphicFramePr>
            <a:graphicFrameLocks noChangeAspect="1"/>
          </p:cNvGraphicFramePr>
          <p:nvPr>
            <p:custDataLst>
              <p:tags r:id="rId1"/>
            </p:custDataLst>
            <p:extLst>
              <p:ext uri="{D42A27DB-BD31-4B8C-83A1-F6EECF244321}">
                <p14:modId xmlns:p14="http://schemas.microsoft.com/office/powerpoint/2010/main" val="202722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8" imgW="395" imgH="396" progId="TCLayout.ActiveDocument.1">
                  <p:embed/>
                </p:oleObj>
              </mc:Choice>
              <mc:Fallback>
                <p:oleObj name="Diapositiva de think-cell" r:id="rId38" imgW="395" imgH="396" progId="TCLayout.ActiveDocument.1">
                  <p:embed/>
                  <p:pic>
                    <p:nvPicPr>
                      <p:cNvPr id="7" name="think-cell data - do not delete" hidden="1">
                        <a:extLst>
                          <a:ext uri="{FF2B5EF4-FFF2-40B4-BE49-F238E27FC236}">
                            <a16:creationId xmlns:a16="http://schemas.microsoft.com/office/drawing/2014/main" id="{D6671726-3BCD-F3FA-F071-A4A61FC92580}"/>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pic>
        <p:nvPicPr>
          <p:cNvPr id="13" name="Imagen 12">
            <a:extLst>
              <a:ext uri="{FF2B5EF4-FFF2-40B4-BE49-F238E27FC236}">
                <a16:creationId xmlns:a16="http://schemas.microsoft.com/office/drawing/2014/main" id="{1D97AB21-316F-A56C-8464-51BD9DF1C681}"/>
              </a:ext>
            </a:extLst>
          </p:cNvPr>
          <p:cNvPicPr>
            <a:picLocks noChangeAspect="1"/>
          </p:cNvPicPr>
          <p:nvPr/>
        </p:nvPicPr>
        <p:blipFill>
          <a:blip r:embed="rId40"/>
          <a:srcRect b="59556"/>
          <a:stretch/>
        </p:blipFill>
        <p:spPr>
          <a:xfrm>
            <a:off x="-3826" y="3296095"/>
            <a:ext cx="12195826" cy="3561905"/>
          </a:xfrm>
          <a:prstGeom prst="rect">
            <a:avLst/>
          </a:prstGeom>
        </p:spPr>
      </p:pic>
      <p:graphicFrame>
        <p:nvGraphicFramePr>
          <p:cNvPr id="11" name="Chart 3">
            <a:extLst>
              <a:ext uri="{FF2B5EF4-FFF2-40B4-BE49-F238E27FC236}">
                <a16:creationId xmlns:a16="http://schemas.microsoft.com/office/drawing/2014/main" id="{AF65BD75-E7C2-93D7-3DA1-3A5FA7CF55A4}"/>
              </a:ext>
            </a:extLst>
          </p:cNvPr>
          <p:cNvGraphicFramePr/>
          <p:nvPr>
            <p:custDataLst>
              <p:tags r:id="rId2"/>
            </p:custDataLst>
            <p:extLst>
              <p:ext uri="{D42A27DB-BD31-4B8C-83A1-F6EECF244321}">
                <p14:modId xmlns:p14="http://schemas.microsoft.com/office/powerpoint/2010/main" val="4268061581"/>
              </p:ext>
            </p:extLst>
          </p:nvPr>
        </p:nvGraphicFramePr>
        <p:xfrm>
          <a:off x="276225" y="2117725"/>
          <a:ext cx="4851400" cy="1387475"/>
        </p:xfrm>
        <a:graphic>
          <a:graphicData uri="http://schemas.openxmlformats.org/drawingml/2006/chart">
            <c:chart xmlns:c="http://schemas.openxmlformats.org/drawingml/2006/chart" xmlns:r="http://schemas.openxmlformats.org/officeDocument/2006/relationships" r:id="rId41"/>
          </a:graphicData>
        </a:graphic>
      </p:graphicFrame>
      <p:cxnSp>
        <p:nvCxnSpPr>
          <p:cNvPr id="14" name="Conector recto 13">
            <a:extLst>
              <a:ext uri="{FF2B5EF4-FFF2-40B4-BE49-F238E27FC236}">
                <a16:creationId xmlns:a16="http://schemas.microsoft.com/office/drawing/2014/main" id="{5CEC6A7E-BFFA-AA11-6617-E31859887DF2}"/>
              </a:ext>
            </a:extLst>
          </p:cNvPr>
          <p:cNvCxnSpPr/>
          <p:nvPr>
            <p:custDataLst>
              <p:tags r:id="rId3"/>
            </p:custDataLst>
          </p:nvPr>
        </p:nvCxnSpPr>
        <p:spPr bwMode="auto">
          <a:xfrm flipV="1">
            <a:off x="944563" y="1987550"/>
            <a:ext cx="0" cy="2857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Conector recto 14">
            <a:extLst>
              <a:ext uri="{FF2B5EF4-FFF2-40B4-BE49-F238E27FC236}">
                <a16:creationId xmlns:a16="http://schemas.microsoft.com/office/drawing/2014/main" id="{D679126A-9FEA-A1B5-6082-DB91F9B6E39E}"/>
              </a:ext>
            </a:extLst>
          </p:cNvPr>
          <p:cNvCxnSpPr/>
          <p:nvPr>
            <p:custDataLst>
              <p:tags r:id="rId4"/>
            </p:custDataLst>
          </p:nvPr>
        </p:nvCxnSpPr>
        <p:spPr bwMode="auto">
          <a:xfrm>
            <a:off x="944563" y="1987550"/>
            <a:ext cx="117157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Conector recto 15">
            <a:extLst>
              <a:ext uri="{FF2B5EF4-FFF2-40B4-BE49-F238E27FC236}">
                <a16:creationId xmlns:a16="http://schemas.microsoft.com/office/drawing/2014/main" id="{67102B31-5821-5C19-5B47-56C9749D70A7}"/>
              </a:ext>
            </a:extLst>
          </p:cNvPr>
          <p:cNvCxnSpPr/>
          <p:nvPr>
            <p:custDataLst>
              <p:tags r:id="rId5"/>
            </p:custDataLst>
          </p:nvPr>
        </p:nvCxnSpPr>
        <p:spPr bwMode="auto">
          <a:xfrm>
            <a:off x="2116138" y="1987550"/>
            <a:ext cx="0" cy="1746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7" name="Conector recto 16">
            <a:extLst>
              <a:ext uri="{FF2B5EF4-FFF2-40B4-BE49-F238E27FC236}">
                <a16:creationId xmlns:a16="http://schemas.microsoft.com/office/drawing/2014/main" id="{4FEB73BC-034E-B6C6-B609-1DB14FC3030B}"/>
              </a:ext>
            </a:extLst>
          </p:cNvPr>
          <p:cNvCxnSpPr/>
          <p:nvPr>
            <p:custDataLst>
              <p:tags r:id="rId6"/>
            </p:custDataLst>
          </p:nvPr>
        </p:nvCxnSpPr>
        <p:spPr bwMode="auto">
          <a:xfrm flipV="1">
            <a:off x="3287713" y="1987550"/>
            <a:ext cx="0" cy="2857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Conector recto 17">
            <a:extLst>
              <a:ext uri="{FF2B5EF4-FFF2-40B4-BE49-F238E27FC236}">
                <a16:creationId xmlns:a16="http://schemas.microsoft.com/office/drawing/2014/main" id="{A860AC8E-3A5A-3790-2A50-A5958A2D4AC8}"/>
              </a:ext>
            </a:extLst>
          </p:cNvPr>
          <p:cNvCxnSpPr/>
          <p:nvPr>
            <p:custDataLst>
              <p:tags r:id="rId7"/>
            </p:custDataLst>
          </p:nvPr>
        </p:nvCxnSpPr>
        <p:spPr bwMode="auto">
          <a:xfrm>
            <a:off x="3287713" y="1987550"/>
            <a:ext cx="117157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Conector recto 18">
            <a:extLst>
              <a:ext uri="{FF2B5EF4-FFF2-40B4-BE49-F238E27FC236}">
                <a16:creationId xmlns:a16="http://schemas.microsoft.com/office/drawing/2014/main" id="{37A1C14D-F734-9329-9753-8160E4DE3911}"/>
              </a:ext>
            </a:extLst>
          </p:cNvPr>
          <p:cNvCxnSpPr/>
          <p:nvPr>
            <p:custDataLst>
              <p:tags r:id="rId8"/>
            </p:custDataLst>
          </p:nvPr>
        </p:nvCxnSpPr>
        <p:spPr bwMode="auto">
          <a:xfrm>
            <a:off x="4459288" y="1987550"/>
            <a:ext cx="0" cy="1746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0" name="Marcador de texto 2">
            <a:extLst>
              <a:ext uri="{FF2B5EF4-FFF2-40B4-BE49-F238E27FC236}">
                <a16:creationId xmlns:a16="http://schemas.microsoft.com/office/drawing/2014/main" id="{7D5EF66B-93DF-E502-8418-CB1EC80C69D2}"/>
              </a:ext>
            </a:extLst>
          </p:cNvPr>
          <p:cNvSpPr>
            <a:spLocks noGrp="1"/>
          </p:cNvSpPr>
          <p:nvPr>
            <p:custDataLst>
              <p:tags r:id="rId9"/>
            </p:custDataLst>
          </p:nvPr>
        </p:nvSpPr>
        <p:spPr bwMode="auto">
          <a:xfrm>
            <a:off x="722312" y="3481388"/>
            <a:ext cx="444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MX" altLang="en-US" sz="1400">
                <a:latin typeface="Montserrat" panose="00000500000000000000" pitchFamily="2" charset="0"/>
              </a:rPr>
              <a:t>1Q24</a:t>
            </a:r>
            <a:endParaRPr lang="es-MX" sz="1400">
              <a:latin typeface="Montserrat" panose="00000500000000000000" pitchFamily="2" charset="0"/>
              <a:sym typeface="Montserrat" panose="00000500000000000000" pitchFamily="2" charset="0"/>
            </a:endParaRPr>
          </a:p>
        </p:txBody>
      </p:sp>
      <p:sp>
        <p:nvSpPr>
          <p:cNvPr id="21" name="Marcador de texto 2">
            <a:extLst>
              <a:ext uri="{FF2B5EF4-FFF2-40B4-BE49-F238E27FC236}">
                <a16:creationId xmlns:a16="http://schemas.microsoft.com/office/drawing/2014/main" id="{0EEE33E7-3F2A-5D66-4499-87E7735DAFBC}"/>
              </a:ext>
            </a:extLst>
          </p:cNvPr>
          <p:cNvSpPr>
            <a:spLocks noGrp="1"/>
          </p:cNvSpPr>
          <p:nvPr>
            <p:custDataLst>
              <p:tags r:id="rId10"/>
            </p:custDataLst>
          </p:nvPr>
        </p:nvSpPr>
        <p:spPr bwMode="auto">
          <a:xfrm>
            <a:off x="1903412" y="3481388"/>
            <a:ext cx="4270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MX" altLang="en-US" sz="1400">
                <a:latin typeface="Montserrat" panose="00000500000000000000" pitchFamily="2" charset="0"/>
              </a:rPr>
              <a:t>1Q25</a:t>
            </a:r>
            <a:endParaRPr lang="es-MX" sz="1400">
              <a:latin typeface="Montserrat" panose="00000500000000000000" pitchFamily="2" charset="0"/>
              <a:sym typeface="Montserrat" panose="00000500000000000000" pitchFamily="2" charset="0"/>
            </a:endParaRPr>
          </a:p>
        </p:txBody>
      </p:sp>
      <p:sp>
        <p:nvSpPr>
          <p:cNvPr id="22" name="Marcador de texto 2">
            <a:extLst>
              <a:ext uri="{FF2B5EF4-FFF2-40B4-BE49-F238E27FC236}">
                <a16:creationId xmlns:a16="http://schemas.microsoft.com/office/drawing/2014/main" id="{8B5D967E-A7D3-B9B3-2730-C280C806FFB3}"/>
              </a:ext>
            </a:extLst>
          </p:cNvPr>
          <p:cNvSpPr>
            <a:spLocks noGrp="1"/>
          </p:cNvSpPr>
          <p:nvPr>
            <p:custDataLst>
              <p:tags r:id="rId11"/>
            </p:custDataLst>
          </p:nvPr>
        </p:nvSpPr>
        <p:spPr bwMode="auto">
          <a:xfrm>
            <a:off x="3036888" y="3481388"/>
            <a:ext cx="501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DBF5DA6-B6C6-473F-A4F6-61B9D7D81C31}" type="datetime'''''''''''''''''''3''M''2''''''''''''''''4'''''">
              <a:rPr lang="es-MX" altLang="en-US" sz="1400" smtClean="0">
                <a:latin typeface="Montserrat" panose="00000500000000000000" pitchFamily="2" charset="0"/>
              </a:rPr>
              <a:pPr marL="0" indent="0" algn="ctr">
                <a:spcBef>
                  <a:spcPct val="0"/>
                </a:spcBef>
                <a:spcAft>
                  <a:spcPct val="0"/>
                </a:spcAft>
                <a:buNone/>
              </a:pPr>
              <a:t>3M24</a:t>
            </a:fld>
            <a:endParaRPr lang="es-MX" sz="1400">
              <a:latin typeface="Montserrat" panose="00000500000000000000" pitchFamily="2" charset="0"/>
              <a:sym typeface="Montserrat" panose="00000500000000000000" pitchFamily="2" charset="0"/>
            </a:endParaRPr>
          </a:p>
        </p:txBody>
      </p:sp>
      <p:sp>
        <p:nvSpPr>
          <p:cNvPr id="23" name="Marcador de texto 2">
            <a:extLst>
              <a:ext uri="{FF2B5EF4-FFF2-40B4-BE49-F238E27FC236}">
                <a16:creationId xmlns:a16="http://schemas.microsoft.com/office/drawing/2014/main" id="{81BAE109-84B6-40AA-FE99-7E18A123D945}"/>
              </a:ext>
            </a:extLst>
          </p:cNvPr>
          <p:cNvSpPr>
            <a:spLocks noGrp="1"/>
          </p:cNvSpPr>
          <p:nvPr>
            <p:custDataLst>
              <p:tags r:id="rId12"/>
            </p:custDataLst>
          </p:nvPr>
        </p:nvSpPr>
        <p:spPr bwMode="auto">
          <a:xfrm>
            <a:off x="4217988" y="3481388"/>
            <a:ext cx="4841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6113DA2-E14E-4731-A1FC-92A91C566F76}" type="datetime'''''''''''''''''''3''''M''''''''''''2''''''''5'''">
              <a:rPr lang="es-MX" altLang="en-US" sz="1400" smtClean="0">
                <a:latin typeface="Montserrat" panose="00000500000000000000" pitchFamily="2" charset="0"/>
              </a:rPr>
              <a:pPr marL="0" indent="0" algn="ctr">
                <a:spcBef>
                  <a:spcPct val="0"/>
                </a:spcBef>
                <a:spcAft>
                  <a:spcPct val="0"/>
                </a:spcAft>
                <a:buNone/>
              </a:pPr>
              <a:t>3M25</a:t>
            </a:fld>
            <a:endParaRPr lang="es-MX" sz="1400">
              <a:latin typeface="Montserrat" panose="00000500000000000000" pitchFamily="2" charset="0"/>
              <a:sym typeface="Montserrat" panose="00000500000000000000" pitchFamily="2" charset="0"/>
            </a:endParaRPr>
          </a:p>
        </p:txBody>
      </p:sp>
      <p:sp>
        <p:nvSpPr>
          <p:cNvPr id="6" name="Marcador de texto 2">
            <a:extLst>
              <a:ext uri="{FF2B5EF4-FFF2-40B4-BE49-F238E27FC236}">
                <a16:creationId xmlns:a16="http://schemas.microsoft.com/office/drawing/2014/main" id="{7E48156E-6A95-A64B-8520-CD11DA6C5EEF}"/>
              </a:ext>
            </a:extLst>
          </p:cNvPr>
          <p:cNvSpPr>
            <a:spLocks noGrp="1"/>
          </p:cNvSpPr>
          <p:nvPr>
            <p:custDataLst>
              <p:tags r:id="rId13"/>
            </p:custDataLst>
          </p:nvPr>
        </p:nvSpPr>
        <p:spPr bwMode="gray">
          <a:xfrm>
            <a:off x="649288" y="2771775"/>
            <a:ext cx="592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571A316-E455-4F47-ADC7-B784D2A9EA1A}" type="datetime'8''''''2'''''''''''',''''0''''''''''''1''''''6'''''">
              <a:rPr lang="es-CL" altLang="en-US" sz="1400" smtClean="0">
                <a:solidFill>
                  <a:schemeClr val="bg1"/>
                </a:solidFill>
                <a:effectLst/>
                <a:latin typeface="Montserrat" panose="00000500000000000000" pitchFamily="2" charset="0"/>
                <a:sym typeface="Montserrat" panose="00000500000000000000" pitchFamily="2" charset="0"/>
              </a:rPr>
              <a:pPr marL="0" indent="0" algn="ctr">
                <a:spcBef>
                  <a:spcPct val="0"/>
                </a:spcBef>
                <a:spcAft>
                  <a:spcPct val="0"/>
                </a:spcAft>
                <a:buNone/>
              </a:pPr>
              <a:t>82,016</a:t>
            </a:fld>
            <a:endParaRPr lang="es-CL" sz="1400">
              <a:solidFill>
                <a:schemeClr val="bg1"/>
              </a:solidFill>
              <a:latin typeface="Montserrat" panose="00000500000000000000" pitchFamily="2" charset="0"/>
              <a:sym typeface="Montserrat" panose="00000500000000000000" pitchFamily="2" charset="0"/>
            </a:endParaRPr>
          </a:p>
        </p:txBody>
      </p:sp>
      <p:sp>
        <p:nvSpPr>
          <p:cNvPr id="8" name="Marcador de texto 2">
            <a:extLst>
              <a:ext uri="{FF2B5EF4-FFF2-40B4-BE49-F238E27FC236}">
                <a16:creationId xmlns:a16="http://schemas.microsoft.com/office/drawing/2014/main" id="{7E48156E-6A95-A64B-8520-CD11DA6C5EEF}"/>
              </a:ext>
            </a:extLst>
          </p:cNvPr>
          <p:cNvSpPr>
            <a:spLocks noGrp="1"/>
          </p:cNvSpPr>
          <p:nvPr>
            <p:custDataLst>
              <p:tags r:id="rId14"/>
            </p:custDataLst>
          </p:nvPr>
        </p:nvSpPr>
        <p:spPr bwMode="gray">
          <a:xfrm>
            <a:off x="1806575" y="2716213"/>
            <a:ext cx="620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20BC996-DE6C-45CC-83CF-084BC83C8EDC}" type="datetime'9''0,''''''''''''''''''2''''''''''7''''''''''3'''''''''">
              <a:rPr lang="es-CL" altLang="en-US" sz="1400" smtClean="0">
                <a:solidFill>
                  <a:schemeClr val="bg1"/>
                </a:solidFill>
                <a:effectLst/>
                <a:latin typeface="Montserrat" panose="00000500000000000000" pitchFamily="2" charset="0"/>
                <a:sym typeface="Montserrat" panose="00000500000000000000" pitchFamily="2" charset="0"/>
              </a:rPr>
              <a:pPr marL="0" indent="0" algn="ctr">
                <a:spcBef>
                  <a:spcPct val="0"/>
                </a:spcBef>
                <a:spcAft>
                  <a:spcPct val="0"/>
                </a:spcAft>
                <a:buNone/>
              </a:pPr>
              <a:t>90,273</a:t>
            </a:fld>
            <a:endParaRPr lang="es-CL" sz="1400">
              <a:solidFill>
                <a:schemeClr val="bg1"/>
              </a:solidFill>
              <a:latin typeface="Montserrat" panose="00000500000000000000" pitchFamily="2" charset="0"/>
              <a:sym typeface="Montserrat" panose="00000500000000000000" pitchFamily="2" charset="0"/>
            </a:endParaRPr>
          </a:p>
        </p:txBody>
      </p:sp>
      <p:sp>
        <p:nvSpPr>
          <p:cNvPr id="9" name="Marcador de texto 2">
            <a:extLst>
              <a:ext uri="{FF2B5EF4-FFF2-40B4-BE49-F238E27FC236}">
                <a16:creationId xmlns:a16="http://schemas.microsoft.com/office/drawing/2014/main" id="{7E48156E-6A95-A64B-8520-CD11DA6C5EEF}"/>
              </a:ext>
            </a:extLst>
          </p:cNvPr>
          <p:cNvSpPr>
            <a:spLocks noGrp="1"/>
          </p:cNvSpPr>
          <p:nvPr>
            <p:custDataLst>
              <p:tags r:id="rId15"/>
            </p:custDataLst>
          </p:nvPr>
        </p:nvSpPr>
        <p:spPr bwMode="gray">
          <a:xfrm>
            <a:off x="2992438" y="2771775"/>
            <a:ext cx="592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23D3A57-7354-487A-B531-8025F01E42E5}" type="datetime'8''''''''''2'',''''''''''''''''''''''''''''''016'''''''''''">
              <a:rPr lang="es-CL" altLang="en-US" sz="1400" smtClean="0">
                <a:solidFill>
                  <a:schemeClr val="bg1"/>
                </a:solidFill>
                <a:effectLst/>
                <a:latin typeface="Montserrat" panose="00000500000000000000" pitchFamily="2" charset="0"/>
                <a:sym typeface="Montserrat" panose="00000500000000000000" pitchFamily="2" charset="0"/>
              </a:rPr>
              <a:pPr marL="0" indent="0" algn="ctr">
                <a:spcBef>
                  <a:spcPct val="0"/>
                </a:spcBef>
                <a:spcAft>
                  <a:spcPct val="0"/>
                </a:spcAft>
                <a:buNone/>
              </a:pPr>
              <a:t>82,016</a:t>
            </a:fld>
            <a:endParaRPr lang="es-CL" sz="1400">
              <a:solidFill>
                <a:schemeClr val="bg1"/>
              </a:solidFill>
              <a:latin typeface="Montserrat" panose="00000500000000000000" pitchFamily="2" charset="0"/>
              <a:sym typeface="Montserrat" panose="00000500000000000000" pitchFamily="2" charset="0"/>
            </a:endParaRPr>
          </a:p>
        </p:txBody>
      </p:sp>
      <p:sp>
        <p:nvSpPr>
          <p:cNvPr id="10" name="Marcador de texto 2">
            <a:extLst>
              <a:ext uri="{FF2B5EF4-FFF2-40B4-BE49-F238E27FC236}">
                <a16:creationId xmlns:a16="http://schemas.microsoft.com/office/drawing/2014/main" id="{7E48156E-6A95-A64B-8520-CD11DA6C5EEF}"/>
              </a:ext>
            </a:extLst>
          </p:cNvPr>
          <p:cNvSpPr>
            <a:spLocks noGrp="1"/>
          </p:cNvSpPr>
          <p:nvPr>
            <p:custDataLst>
              <p:tags r:id="rId16"/>
            </p:custDataLst>
          </p:nvPr>
        </p:nvSpPr>
        <p:spPr bwMode="gray">
          <a:xfrm>
            <a:off x="4149725" y="2716213"/>
            <a:ext cx="620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764374C-2E05-4A59-A724-1B5A98038C81}" type="datetime'''''''''''''''''''''9''''''''0'''''',''2''7''3'''''">
              <a:rPr lang="es-CL" altLang="en-US" sz="1400" smtClean="0">
                <a:solidFill>
                  <a:schemeClr val="bg1"/>
                </a:solidFill>
                <a:effectLst/>
                <a:latin typeface="Montserrat" panose="00000500000000000000" pitchFamily="2" charset="0"/>
                <a:sym typeface="Montserrat" panose="00000500000000000000" pitchFamily="2" charset="0"/>
              </a:rPr>
              <a:pPr marL="0" indent="0" algn="ctr">
                <a:spcBef>
                  <a:spcPct val="0"/>
                </a:spcBef>
                <a:spcAft>
                  <a:spcPct val="0"/>
                </a:spcAft>
                <a:buNone/>
              </a:pPr>
              <a:t>90,273</a:t>
            </a:fld>
            <a:endParaRPr lang="es-CL" sz="1400">
              <a:solidFill>
                <a:schemeClr val="bg1"/>
              </a:solidFill>
              <a:latin typeface="Montserrat" panose="00000500000000000000" pitchFamily="2" charset="0"/>
              <a:sym typeface="Montserrat" panose="00000500000000000000" pitchFamily="2" charset="0"/>
            </a:endParaRPr>
          </a:p>
        </p:txBody>
      </p:sp>
      <p:sp>
        <p:nvSpPr>
          <p:cNvPr id="24" name="Marcador de texto 2">
            <a:extLst>
              <a:ext uri="{FF2B5EF4-FFF2-40B4-BE49-F238E27FC236}">
                <a16:creationId xmlns:a16="http://schemas.microsoft.com/office/drawing/2014/main" id="{A3471FF0-149B-3A93-8F76-94A6E4A6EDB8}"/>
              </a:ext>
            </a:extLst>
          </p:cNvPr>
          <p:cNvSpPr>
            <a:spLocks noGrp="1"/>
          </p:cNvSpPr>
          <p:nvPr>
            <p:custDataLst>
              <p:tags r:id="rId17"/>
            </p:custDataLst>
          </p:nvPr>
        </p:nvSpPr>
        <p:spPr bwMode="auto">
          <a:xfrm>
            <a:off x="1128713" y="1851025"/>
            <a:ext cx="804863"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E35016E-5027-417D-8321-CC873A447E06}" type="datetime'''''''''+''''1''''''''''''''0''''''''''''''''''''.''''1''''%'">
              <a:rPr lang="es-MX" altLang="en-US" sz="1400" b="1" smtClean="0">
                <a:effectLst/>
                <a:latin typeface="Montserrat" panose="00000500000000000000" pitchFamily="2" charset="0"/>
              </a:rPr>
              <a:pPr marL="0" indent="0" algn="ctr">
                <a:spcBef>
                  <a:spcPct val="0"/>
                </a:spcBef>
                <a:spcAft>
                  <a:spcPct val="0"/>
                </a:spcAft>
                <a:buNone/>
              </a:pPr>
              <a:t>+10.1%</a:t>
            </a:fld>
            <a:endParaRPr lang="es-MX" sz="1400" b="1">
              <a:latin typeface="Montserrat" panose="00000500000000000000" pitchFamily="2" charset="0"/>
              <a:sym typeface="Montserrat" panose="00000500000000000000" pitchFamily="2" charset="0"/>
            </a:endParaRPr>
          </a:p>
        </p:txBody>
      </p:sp>
      <p:sp>
        <p:nvSpPr>
          <p:cNvPr id="25" name="Marcador de texto 2">
            <a:extLst>
              <a:ext uri="{FF2B5EF4-FFF2-40B4-BE49-F238E27FC236}">
                <a16:creationId xmlns:a16="http://schemas.microsoft.com/office/drawing/2014/main" id="{088EACFB-722C-D3C6-5EA2-874A7C88F63C}"/>
              </a:ext>
            </a:extLst>
          </p:cNvPr>
          <p:cNvSpPr>
            <a:spLocks noGrp="1"/>
          </p:cNvSpPr>
          <p:nvPr>
            <p:custDataLst>
              <p:tags r:id="rId18"/>
            </p:custDataLst>
          </p:nvPr>
        </p:nvSpPr>
        <p:spPr bwMode="auto">
          <a:xfrm>
            <a:off x="3471863" y="1851025"/>
            <a:ext cx="804863"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435F036-B1C0-4420-BF91-F0F2909172C1}" type="datetime'+''''''''''1''''0''''''''''''.''''''''1''''''%'''''''''''">
              <a:rPr lang="es-MX" altLang="en-US" sz="1400" b="1" smtClean="0">
                <a:effectLst/>
                <a:latin typeface="Montserrat" panose="00000500000000000000" pitchFamily="2" charset="0"/>
              </a:rPr>
              <a:pPr marL="0" indent="0" algn="ctr">
                <a:spcBef>
                  <a:spcPct val="0"/>
                </a:spcBef>
                <a:spcAft>
                  <a:spcPct val="0"/>
                </a:spcAft>
                <a:buNone/>
              </a:pPr>
              <a:t>+10.1%</a:t>
            </a:fld>
            <a:endParaRPr lang="es-MX" sz="1400" b="1">
              <a:latin typeface="Montserrat" panose="00000500000000000000" pitchFamily="2" charset="0"/>
              <a:sym typeface="Montserrat" panose="00000500000000000000" pitchFamily="2" charset="0"/>
            </a:endParaRPr>
          </a:p>
        </p:txBody>
      </p:sp>
      <p:sp>
        <p:nvSpPr>
          <p:cNvPr id="26" name="Rectángulo 25">
            <a:extLst>
              <a:ext uri="{FF2B5EF4-FFF2-40B4-BE49-F238E27FC236}">
                <a16:creationId xmlns:a16="http://schemas.microsoft.com/office/drawing/2014/main" id="{03EEED99-06C4-A229-CED8-BF115C60ACFF}"/>
              </a:ext>
            </a:extLst>
          </p:cNvPr>
          <p:cNvSpPr/>
          <p:nvPr/>
        </p:nvSpPr>
        <p:spPr>
          <a:xfrm>
            <a:off x="549152" y="1410426"/>
            <a:ext cx="1638271" cy="261938"/>
          </a:xfrm>
          <a:prstGeom prst="rect">
            <a:avLst/>
          </a:prstGeom>
        </p:spPr>
        <p:txBody>
          <a:bodyPr wrap="square">
            <a:spAutoFit/>
          </a:bodyPr>
          <a:lstStyle/>
          <a:p>
            <a:pPr defTabSz="914377">
              <a:defRPr/>
            </a:pPr>
            <a:r>
              <a:rPr lang="es-CL" sz="1100" kern="0">
                <a:solidFill>
                  <a:srgbClr val="404040"/>
                </a:solidFill>
                <a:latin typeface="Montserrat" pitchFamily="2" charset="77"/>
              </a:rPr>
              <a:t>(CLP </a:t>
            </a:r>
            <a:r>
              <a:rPr lang="es-CL" sz="1100" kern="0" err="1">
                <a:solidFill>
                  <a:srgbClr val="404040"/>
                </a:solidFill>
                <a:latin typeface="Montserrat" pitchFamily="2" charset="77"/>
              </a:rPr>
              <a:t>Million</a:t>
            </a:r>
            <a:r>
              <a:rPr lang="es-CL" sz="1100" kern="0">
                <a:solidFill>
                  <a:srgbClr val="404040"/>
                </a:solidFill>
                <a:latin typeface="Montserrat" pitchFamily="2" charset="77"/>
              </a:rPr>
              <a:t>)</a:t>
            </a:r>
          </a:p>
        </p:txBody>
      </p:sp>
      <p:sp>
        <p:nvSpPr>
          <p:cNvPr id="27" name="CuadroTexto 26">
            <a:extLst>
              <a:ext uri="{FF2B5EF4-FFF2-40B4-BE49-F238E27FC236}">
                <a16:creationId xmlns:a16="http://schemas.microsoft.com/office/drawing/2014/main" id="{8BE189BD-1FB7-3A83-3E35-51A5B578FCEF}"/>
              </a:ext>
            </a:extLst>
          </p:cNvPr>
          <p:cNvSpPr txBox="1"/>
          <p:nvPr/>
        </p:nvSpPr>
        <p:spPr>
          <a:xfrm>
            <a:off x="554129" y="1189765"/>
            <a:ext cx="2452429" cy="307975"/>
          </a:xfrm>
          <a:prstGeom prst="rect">
            <a:avLst/>
          </a:prstGeom>
          <a:noFill/>
          <a:ln>
            <a:noFill/>
          </a:ln>
        </p:spPr>
        <p:txBody>
          <a:bodyPr wrap="square" rtlCol="0">
            <a:spAutoFit/>
          </a:bodyPr>
          <a:lstStyle/>
          <a:p>
            <a:r>
              <a:rPr lang="es-MX" sz="1400" b="1" err="1">
                <a:solidFill>
                  <a:schemeClr val="tx1">
                    <a:lumMod val="75000"/>
                  </a:schemeClr>
                </a:solidFill>
                <a:latin typeface="Montserrat" pitchFamily="2" charset="77"/>
              </a:rPr>
              <a:t>Consolidated</a:t>
            </a:r>
            <a:r>
              <a:rPr lang="es-MX" sz="1400" b="1">
                <a:solidFill>
                  <a:schemeClr val="tx1">
                    <a:lumMod val="75000"/>
                  </a:schemeClr>
                </a:solidFill>
                <a:latin typeface="Montserrat" pitchFamily="2" charset="77"/>
              </a:rPr>
              <a:t> </a:t>
            </a:r>
            <a:r>
              <a:rPr lang="es-MX" sz="1400" b="1" err="1">
                <a:solidFill>
                  <a:schemeClr val="tx1">
                    <a:lumMod val="75000"/>
                  </a:schemeClr>
                </a:solidFill>
                <a:latin typeface="Montserrat" pitchFamily="2" charset="77"/>
              </a:rPr>
              <a:t>Revenues</a:t>
            </a:r>
            <a:endParaRPr lang="es-MX" sz="1400" b="1" baseline="30000">
              <a:solidFill>
                <a:schemeClr val="tx1">
                  <a:lumMod val="75000"/>
                </a:schemeClr>
              </a:solidFill>
              <a:latin typeface="Montserrat" pitchFamily="2" charset="77"/>
            </a:endParaRPr>
          </a:p>
        </p:txBody>
      </p:sp>
      <p:graphicFrame>
        <p:nvGraphicFramePr>
          <p:cNvPr id="31" name="Chart 3">
            <a:extLst>
              <a:ext uri="{FF2B5EF4-FFF2-40B4-BE49-F238E27FC236}">
                <a16:creationId xmlns:a16="http://schemas.microsoft.com/office/drawing/2014/main" id="{21C7583F-5503-372C-7718-E69539F67D49}"/>
              </a:ext>
            </a:extLst>
          </p:cNvPr>
          <p:cNvGraphicFramePr/>
          <p:nvPr>
            <p:custDataLst>
              <p:tags r:id="rId19"/>
            </p:custDataLst>
            <p:extLst>
              <p:ext uri="{D42A27DB-BD31-4B8C-83A1-F6EECF244321}">
                <p14:modId xmlns:p14="http://schemas.microsoft.com/office/powerpoint/2010/main" val="806285933"/>
              </p:ext>
            </p:extLst>
          </p:nvPr>
        </p:nvGraphicFramePr>
        <p:xfrm>
          <a:off x="6483350" y="2087563"/>
          <a:ext cx="5016500" cy="1417637"/>
        </p:xfrm>
        <a:graphic>
          <a:graphicData uri="http://schemas.openxmlformats.org/drawingml/2006/chart">
            <c:chart xmlns:c="http://schemas.openxmlformats.org/drawingml/2006/chart" xmlns:r="http://schemas.openxmlformats.org/officeDocument/2006/relationships" r:id="rId42"/>
          </a:graphicData>
        </a:graphic>
      </p:graphicFrame>
      <p:cxnSp>
        <p:nvCxnSpPr>
          <p:cNvPr id="43" name="Conector recto 42">
            <a:extLst>
              <a:ext uri="{FF2B5EF4-FFF2-40B4-BE49-F238E27FC236}">
                <a16:creationId xmlns:a16="http://schemas.microsoft.com/office/drawing/2014/main" id="{A544184C-5650-0F49-79D2-C0074B07B5A8}"/>
              </a:ext>
            </a:extLst>
          </p:cNvPr>
          <p:cNvCxnSpPr/>
          <p:nvPr>
            <p:custDataLst>
              <p:tags r:id="rId20"/>
            </p:custDataLst>
          </p:nvPr>
        </p:nvCxnSpPr>
        <p:spPr bwMode="auto">
          <a:xfrm flipV="1">
            <a:off x="7172325" y="1957388"/>
            <a:ext cx="0" cy="3000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Conector recto 43">
            <a:extLst>
              <a:ext uri="{FF2B5EF4-FFF2-40B4-BE49-F238E27FC236}">
                <a16:creationId xmlns:a16="http://schemas.microsoft.com/office/drawing/2014/main" id="{5D7B71DC-F139-ECE6-52AA-F1F75BB7F908}"/>
              </a:ext>
            </a:extLst>
          </p:cNvPr>
          <p:cNvCxnSpPr/>
          <p:nvPr>
            <p:custDataLst>
              <p:tags r:id="rId21"/>
            </p:custDataLst>
          </p:nvPr>
        </p:nvCxnSpPr>
        <p:spPr bwMode="auto">
          <a:xfrm>
            <a:off x="7172324" y="1957388"/>
            <a:ext cx="121285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Conector recto 44">
            <a:extLst>
              <a:ext uri="{FF2B5EF4-FFF2-40B4-BE49-F238E27FC236}">
                <a16:creationId xmlns:a16="http://schemas.microsoft.com/office/drawing/2014/main" id="{B3DEA2D6-3B26-15F3-BB80-64414E70E0FE}"/>
              </a:ext>
            </a:extLst>
          </p:cNvPr>
          <p:cNvCxnSpPr/>
          <p:nvPr>
            <p:custDataLst>
              <p:tags r:id="rId22"/>
            </p:custDataLst>
          </p:nvPr>
        </p:nvCxnSpPr>
        <p:spPr bwMode="auto">
          <a:xfrm>
            <a:off x="8385175" y="1957388"/>
            <a:ext cx="0" cy="1746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6" name="Conector recto 45">
            <a:extLst>
              <a:ext uri="{FF2B5EF4-FFF2-40B4-BE49-F238E27FC236}">
                <a16:creationId xmlns:a16="http://schemas.microsoft.com/office/drawing/2014/main" id="{C26E0BED-8DB7-AEFA-D57B-232E989B983A}"/>
              </a:ext>
            </a:extLst>
          </p:cNvPr>
          <p:cNvCxnSpPr/>
          <p:nvPr>
            <p:custDataLst>
              <p:tags r:id="rId23"/>
            </p:custDataLst>
          </p:nvPr>
        </p:nvCxnSpPr>
        <p:spPr bwMode="auto">
          <a:xfrm flipV="1">
            <a:off x="9598025" y="1957388"/>
            <a:ext cx="0" cy="3000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Conector recto 46">
            <a:extLst>
              <a:ext uri="{FF2B5EF4-FFF2-40B4-BE49-F238E27FC236}">
                <a16:creationId xmlns:a16="http://schemas.microsoft.com/office/drawing/2014/main" id="{FDE3A9DC-3DFE-5C71-B75C-72BDBB4248FE}"/>
              </a:ext>
            </a:extLst>
          </p:cNvPr>
          <p:cNvCxnSpPr/>
          <p:nvPr>
            <p:custDataLst>
              <p:tags r:id="rId24"/>
            </p:custDataLst>
          </p:nvPr>
        </p:nvCxnSpPr>
        <p:spPr bwMode="auto">
          <a:xfrm>
            <a:off x="9598024" y="1957388"/>
            <a:ext cx="121285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Conector recto 47">
            <a:extLst>
              <a:ext uri="{FF2B5EF4-FFF2-40B4-BE49-F238E27FC236}">
                <a16:creationId xmlns:a16="http://schemas.microsoft.com/office/drawing/2014/main" id="{C0A3F0F2-6906-C61B-8785-971D803D377E}"/>
              </a:ext>
            </a:extLst>
          </p:cNvPr>
          <p:cNvCxnSpPr/>
          <p:nvPr>
            <p:custDataLst>
              <p:tags r:id="rId25"/>
            </p:custDataLst>
          </p:nvPr>
        </p:nvCxnSpPr>
        <p:spPr bwMode="auto">
          <a:xfrm>
            <a:off x="10810875" y="1957388"/>
            <a:ext cx="0" cy="1746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9" name="Marcador de texto 2">
            <a:extLst>
              <a:ext uri="{FF2B5EF4-FFF2-40B4-BE49-F238E27FC236}">
                <a16:creationId xmlns:a16="http://schemas.microsoft.com/office/drawing/2014/main" id="{9350945F-A97A-6BA3-B652-A4F84192C2BC}"/>
              </a:ext>
            </a:extLst>
          </p:cNvPr>
          <p:cNvSpPr>
            <a:spLocks noGrp="1"/>
          </p:cNvSpPr>
          <p:nvPr>
            <p:custDataLst>
              <p:tags r:id="rId26"/>
            </p:custDataLst>
          </p:nvPr>
        </p:nvSpPr>
        <p:spPr bwMode="auto">
          <a:xfrm>
            <a:off x="6950074" y="3481388"/>
            <a:ext cx="444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MX" altLang="en-US" sz="1400">
                <a:latin typeface="Montserrat" panose="00000500000000000000" pitchFamily="2" charset="0"/>
              </a:rPr>
              <a:t>1Q24</a:t>
            </a:r>
            <a:endParaRPr lang="es-MX" sz="1400">
              <a:latin typeface="Montserrat" panose="00000500000000000000" pitchFamily="2" charset="0"/>
              <a:sym typeface="Montserrat" panose="00000500000000000000" pitchFamily="2" charset="0"/>
            </a:endParaRPr>
          </a:p>
        </p:txBody>
      </p:sp>
      <p:sp>
        <p:nvSpPr>
          <p:cNvPr id="50" name="Marcador de texto 2">
            <a:extLst>
              <a:ext uri="{FF2B5EF4-FFF2-40B4-BE49-F238E27FC236}">
                <a16:creationId xmlns:a16="http://schemas.microsoft.com/office/drawing/2014/main" id="{9BE30D35-C925-1024-D51B-C07404BD9124}"/>
              </a:ext>
            </a:extLst>
          </p:cNvPr>
          <p:cNvSpPr>
            <a:spLocks noGrp="1"/>
          </p:cNvSpPr>
          <p:nvPr>
            <p:custDataLst>
              <p:tags r:id="rId27"/>
            </p:custDataLst>
          </p:nvPr>
        </p:nvSpPr>
        <p:spPr bwMode="auto">
          <a:xfrm>
            <a:off x="8172449" y="3481388"/>
            <a:ext cx="4270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MX" altLang="en-US" sz="1400">
                <a:latin typeface="Montserrat" panose="00000500000000000000" pitchFamily="2" charset="0"/>
              </a:rPr>
              <a:t>1Q25</a:t>
            </a:r>
            <a:endParaRPr lang="es-MX" sz="1400">
              <a:latin typeface="Montserrat" panose="00000500000000000000" pitchFamily="2" charset="0"/>
              <a:sym typeface="Montserrat" panose="00000500000000000000" pitchFamily="2" charset="0"/>
            </a:endParaRPr>
          </a:p>
        </p:txBody>
      </p:sp>
      <p:sp>
        <p:nvSpPr>
          <p:cNvPr id="51" name="Marcador de texto 2">
            <a:extLst>
              <a:ext uri="{FF2B5EF4-FFF2-40B4-BE49-F238E27FC236}">
                <a16:creationId xmlns:a16="http://schemas.microsoft.com/office/drawing/2014/main" id="{BD564D6E-D481-C129-7079-1706DB5B7B5E}"/>
              </a:ext>
            </a:extLst>
          </p:cNvPr>
          <p:cNvSpPr>
            <a:spLocks noGrp="1"/>
          </p:cNvSpPr>
          <p:nvPr>
            <p:custDataLst>
              <p:tags r:id="rId28"/>
            </p:custDataLst>
          </p:nvPr>
        </p:nvSpPr>
        <p:spPr bwMode="auto">
          <a:xfrm>
            <a:off x="9347200" y="3481388"/>
            <a:ext cx="501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8AA0D60-3FD8-49C5-AA69-EB8D7609CFE2}" type="datetime'''''''''3''''''''''''''''M''''''24'">
              <a:rPr lang="es-MX" altLang="en-US" sz="1400" smtClean="0">
                <a:latin typeface="Montserrat" panose="00000500000000000000" pitchFamily="2" charset="0"/>
              </a:rPr>
              <a:pPr marL="0" indent="0" algn="ctr">
                <a:spcBef>
                  <a:spcPct val="0"/>
                </a:spcBef>
                <a:spcAft>
                  <a:spcPct val="0"/>
                </a:spcAft>
                <a:buNone/>
              </a:pPr>
              <a:t>3M24</a:t>
            </a:fld>
            <a:endParaRPr lang="es-MX" sz="1400">
              <a:latin typeface="Montserrat" panose="00000500000000000000" pitchFamily="2" charset="0"/>
              <a:sym typeface="Montserrat" panose="00000500000000000000" pitchFamily="2" charset="0"/>
            </a:endParaRPr>
          </a:p>
        </p:txBody>
      </p:sp>
      <p:sp>
        <p:nvSpPr>
          <p:cNvPr id="52" name="Marcador de texto 2">
            <a:extLst>
              <a:ext uri="{FF2B5EF4-FFF2-40B4-BE49-F238E27FC236}">
                <a16:creationId xmlns:a16="http://schemas.microsoft.com/office/drawing/2014/main" id="{D39191ED-14F4-CCC0-8F53-90DF17EB1D44}"/>
              </a:ext>
            </a:extLst>
          </p:cNvPr>
          <p:cNvSpPr>
            <a:spLocks noGrp="1"/>
          </p:cNvSpPr>
          <p:nvPr>
            <p:custDataLst>
              <p:tags r:id="rId29"/>
            </p:custDataLst>
          </p:nvPr>
        </p:nvSpPr>
        <p:spPr bwMode="auto">
          <a:xfrm>
            <a:off x="10569575" y="3481388"/>
            <a:ext cx="4841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8FB307-15FA-4008-8C7D-C566D459FEE2}" type="datetime'''''''''''''''''''''''''3''M2''''''''''''''''5'">
              <a:rPr lang="es-MX" altLang="en-US" sz="1400" smtClean="0">
                <a:latin typeface="Montserrat" panose="00000500000000000000" pitchFamily="2" charset="0"/>
              </a:rPr>
              <a:pPr marL="0" indent="0" algn="ctr">
                <a:spcBef>
                  <a:spcPct val="0"/>
                </a:spcBef>
                <a:spcAft>
                  <a:spcPct val="0"/>
                </a:spcAft>
                <a:buNone/>
              </a:pPr>
              <a:t>3M25</a:t>
            </a:fld>
            <a:endParaRPr lang="es-MX" sz="1400">
              <a:latin typeface="Montserrat" panose="00000500000000000000" pitchFamily="2" charset="0"/>
              <a:sym typeface="Montserrat" panose="00000500000000000000" pitchFamily="2" charset="0"/>
            </a:endParaRPr>
          </a:p>
        </p:txBody>
      </p:sp>
      <p:sp>
        <p:nvSpPr>
          <p:cNvPr id="12" name="Marcador de texto 2">
            <a:extLst>
              <a:ext uri="{FF2B5EF4-FFF2-40B4-BE49-F238E27FC236}">
                <a16:creationId xmlns:a16="http://schemas.microsoft.com/office/drawing/2014/main" id="{7E48156E-6A95-A64B-8520-CD11DA6C5EEF}"/>
              </a:ext>
            </a:extLst>
          </p:cNvPr>
          <p:cNvSpPr>
            <a:spLocks noGrp="1"/>
          </p:cNvSpPr>
          <p:nvPr>
            <p:custDataLst>
              <p:tags r:id="rId30"/>
            </p:custDataLst>
          </p:nvPr>
        </p:nvSpPr>
        <p:spPr bwMode="gray">
          <a:xfrm>
            <a:off x="6858000" y="2763838"/>
            <a:ext cx="6302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719EC11-C5B8-438F-B127-558F9165CD71}" type="datetime'''''''''''''''''73,''''''''''''2''''04'''">
              <a:rPr lang="es-CL" altLang="en-US" sz="1400" smtClean="0">
                <a:solidFill>
                  <a:schemeClr val="bg1"/>
                </a:solidFill>
                <a:effectLst/>
                <a:latin typeface="Montserrat" panose="00000500000000000000" pitchFamily="2" charset="0"/>
                <a:sym typeface="Montserrat" panose="00000500000000000000" pitchFamily="2" charset="0"/>
              </a:rPr>
              <a:pPr marL="0" indent="0" algn="ctr">
                <a:spcBef>
                  <a:spcPct val="0"/>
                </a:spcBef>
                <a:spcAft>
                  <a:spcPct val="0"/>
                </a:spcAft>
                <a:buNone/>
              </a:pPr>
              <a:t>73,204</a:t>
            </a:fld>
            <a:endParaRPr lang="es-CL" sz="1400">
              <a:solidFill>
                <a:schemeClr val="bg1"/>
              </a:solidFill>
              <a:latin typeface="Montserrat" panose="00000500000000000000" pitchFamily="2" charset="0"/>
              <a:sym typeface="Montserrat" panose="00000500000000000000" pitchFamily="2" charset="0"/>
            </a:endParaRPr>
          </a:p>
        </p:txBody>
      </p:sp>
      <p:sp>
        <p:nvSpPr>
          <p:cNvPr id="28" name="Marcador de texto 2">
            <a:extLst>
              <a:ext uri="{FF2B5EF4-FFF2-40B4-BE49-F238E27FC236}">
                <a16:creationId xmlns:a16="http://schemas.microsoft.com/office/drawing/2014/main" id="{7E48156E-6A95-A64B-8520-CD11DA6C5EEF}"/>
              </a:ext>
            </a:extLst>
          </p:cNvPr>
          <p:cNvSpPr>
            <a:spLocks noGrp="1"/>
          </p:cNvSpPr>
          <p:nvPr>
            <p:custDataLst>
              <p:tags r:id="rId31"/>
            </p:custDataLst>
          </p:nvPr>
        </p:nvSpPr>
        <p:spPr bwMode="gray">
          <a:xfrm>
            <a:off x="8101013" y="2700338"/>
            <a:ext cx="5699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6CF4F27-1621-4223-BA21-21F4F01E2B0D}" type="datetime'''''8''''''''1,''''''''''''''3''''''''7''''''''5'''''''''''''">
              <a:rPr lang="es-CL" altLang="en-US" sz="1400" smtClean="0">
                <a:solidFill>
                  <a:schemeClr val="bg1"/>
                </a:solidFill>
                <a:effectLst/>
                <a:latin typeface="Montserrat" panose="00000500000000000000" pitchFamily="2" charset="0"/>
                <a:sym typeface="Montserrat" panose="00000500000000000000" pitchFamily="2" charset="0"/>
              </a:rPr>
              <a:pPr marL="0" indent="0" algn="ctr">
                <a:spcBef>
                  <a:spcPct val="0"/>
                </a:spcBef>
                <a:spcAft>
                  <a:spcPct val="0"/>
                </a:spcAft>
                <a:buNone/>
              </a:pPr>
              <a:t>81,375</a:t>
            </a:fld>
            <a:endParaRPr lang="es-CL" sz="1400">
              <a:solidFill>
                <a:schemeClr val="bg1"/>
              </a:solidFill>
              <a:latin typeface="Montserrat" panose="00000500000000000000" pitchFamily="2" charset="0"/>
              <a:sym typeface="Montserrat" panose="00000500000000000000" pitchFamily="2" charset="0"/>
            </a:endParaRPr>
          </a:p>
        </p:txBody>
      </p:sp>
      <p:sp>
        <p:nvSpPr>
          <p:cNvPr id="29" name="Marcador de texto 2">
            <a:extLst>
              <a:ext uri="{FF2B5EF4-FFF2-40B4-BE49-F238E27FC236}">
                <a16:creationId xmlns:a16="http://schemas.microsoft.com/office/drawing/2014/main" id="{7E48156E-6A95-A64B-8520-CD11DA6C5EEF}"/>
              </a:ext>
            </a:extLst>
          </p:cNvPr>
          <p:cNvSpPr>
            <a:spLocks noGrp="1"/>
          </p:cNvSpPr>
          <p:nvPr>
            <p:custDataLst>
              <p:tags r:id="rId32"/>
            </p:custDataLst>
          </p:nvPr>
        </p:nvSpPr>
        <p:spPr bwMode="gray">
          <a:xfrm>
            <a:off x="9283700" y="2763838"/>
            <a:ext cx="6302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F0A6256-0F53-4F62-B773-7CEE3785FC77}" type="datetime'''''73'''''''''''''''',2''''''''0''''''''''''4'''''">
              <a:rPr lang="es-CL" altLang="en-US" sz="1400" smtClean="0">
                <a:solidFill>
                  <a:schemeClr val="bg1"/>
                </a:solidFill>
                <a:effectLst/>
                <a:latin typeface="Montserrat" panose="00000500000000000000" pitchFamily="2" charset="0"/>
                <a:sym typeface="Montserrat" panose="00000500000000000000" pitchFamily="2" charset="0"/>
              </a:rPr>
              <a:pPr marL="0" indent="0" algn="ctr">
                <a:spcBef>
                  <a:spcPct val="0"/>
                </a:spcBef>
                <a:spcAft>
                  <a:spcPct val="0"/>
                </a:spcAft>
                <a:buNone/>
              </a:pPr>
              <a:t>73,204</a:t>
            </a:fld>
            <a:endParaRPr lang="es-CL" sz="1400">
              <a:solidFill>
                <a:schemeClr val="bg1"/>
              </a:solidFill>
              <a:latin typeface="Montserrat" panose="00000500000000000000" pitchFamily="2" charset="0"/>
              <a:sym typeface="Montserrat" panose="00000500000000000000" pitchFamily="2" charset="0"/>
            </a:endParaRPr>
          </a:p>
        </p:txBody>
      </p:sp>
      <p:sp>
        <p:nvSpPr>
          <p:cNvPr id="30" name="Marcador de texto 2">
            <a:extLst>
              <a:ext uri="{FF2B5EF4-FFF2-40B4-BE49-F238E27FC236}">
                <a16:creationId xmlns:a16="http://schemas.microsoft.com/office/drawing/2014/main" id="{7E48156E-6A95-A64B-8520-CD11DA6C5EEF}"/>
              </a:ext>
            </a:extLst>
          </p:cNvPr>
          <p:cNvSpPr>
            <a:spLocks noGrp="1"/>
          </p:cNvSpPr>
          <p:nvPr>
            <p:custDataLst>
              <p:tags r:id="rId33"/>
            </p:custDataLst>
          </p:nvPr>
        </p:nvSpPr>
        <p:spPr bwMode="gray">
          <a:xfrm>
            <a:off x="10526713" y="2700338"/>
            <a:ext cx="5699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E38037B-5EE8-4EF5-B321-9D6AA8DD178A}" type="datetime'''''8''1'''''',3''''''''''''''''''7''''5'">
              <a:rPr lang="es-CL" altLang="en-US" sz="1400" smtClean="0">
                <a:solidFill>
                  <a:schemeClr val="bg1"/>
                </a:solidFill>
                <a:effectLst/>
                <a:latin typeface="Montserrat" panose="00000500000000000000" pitchFamily="2" charset="0"/>
                <a:sym typeface="Montserrat" panose="00000500000000000000" pitchFamily="2" charset="0"/>
              </a:rPr>
              <a:pPr marL="0" indent="0" algn="ctr">
                <a:spcBef>
                  <a:spcPct val="0"/>
                </a:spcBef>
                <a:spcAft>
                  <a:spcPct val="0"/>
                </a:spcAft>
                <a:buNone/>
              </a:pPr>
              <a:t>81,375</a:t>
            </a:fld>
            <a:endParaRPr lang="es-CL" sz="1400">
              <a:solidFill>
                <a:schemeClr val="bg1"/>
              </a:solidFill>
              <a:latin typeface="Montserrat" panose="00000500000000000000" pitchFamily="2" charset="0"/>
              <a:sym typeface="Montserrat" panose="00000500000000000000" pitchFamily="2" charset="0"/>
            </a:endParaRPr>
          </a:p>
        </p:txBody>
      </p:sp>
      <p:sp>
        <p:nvSpPr>
          <p:cNvPr id="53" name="Marcador de texto 2">
            <a:extLst>
              <a:ext uri="{FF2B5EF4-FFF2-40B4-BE49-F238E27FC236}">
                <a16:creationId xmlns:a16="http://schemas.microsoft.com/office/drawing/2014/main" id="{4D83F861-BFBA-99E7-4B61-0410BAA8B63E}"/>
              </a:ext>
            </a:extLst>
          </p:cNvPr>
          <p:cNvSpPr>
            <a:spLocks noGrp="1"/>
          </p:cNvSpPr>
          <p:nvPr>
            <p:custDataLst>
              <p:tags r:id="rId34"/>
            </p:custDataLst>
          </p:nvPr>
        </p:nvSpPr>
        <p:spPr bwMode="auto">
          <a:xfrm>
            <a:off x="7388225" y="1820863"/>
            <a:ext cx="782638"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4E4ADC3-FC97-4EB7-8DFA-ECF5A0D58844}" type="datetime'+''''1''''''''''1''.''''''''''''2''''''''''''''''''''''''''%'">
              <a:rPr lang="es-MX" altLang="en-US" sz="1400" b="1" smtClean="0">
                <a:effectLst/>
                <a:latin typeface="Montserrat" panose="00000500000000000000" pitchFamily="2" charset="0"/>
              </a:rPr>
              <a:pPr marL="0" indent="0" algn="ctr">
                <a:spcBef>
                  <a:spcPct val="0"/>
                </a:spcBef>
                <a:spcAft>
                  <a:spcPct val="0"/>
                </a:spcAft>
                <a:buNone/>
              </a:pPr>
              <a:t>+11.2%</a:t>
            </a:fld>
            <a:endParaRPr lang="es-MX" sz="1400" b="1">
              <a:latin typeface="Montserrat" panose="00000500000000000000" pitchFamily="2" charset="0"/>
              <a:sym typeface="Montserrat" panose="00000500000000000000" pitchFamily="2" charset="0"/>
            </a:endParaRPr>
          </a:p>
        </p:txBody>
      </p:sp>
      <p:sp>
        <p:nvSpPr>
          <p:cNvPr id="54" name="Marcador de texto 2">
            <a:extLst>
              <a:ext uri="{FF2B5EF4-FFF2-40B4-BE49-F238E27FC236}">
                <a16:creationId xmlns:a16="http://schemas.microsoft.com/office/drawing/2014/main" id="{5EFDAB92-A89A-BB56-F7D9-8DC8CBFDC9F0}"/>
              </a:ext>
            </a:extLst>
          </p:cNvPr>
          <p:cNvSpPr>
            <a:spLocks noGrp="1"/>
          </p:cNvSpPr>
          <p:nvPr>
            <p:custDataLst>
              <p:tags r:id="rId35"/>
            </p:custDataLst>
          </p:nvPr>
        </p:nvSpPr>
        <p:spPr bwMode="auto">
          <a:xfrm>
            <a:off x="9813925" y="1820863"/>
            <a:ext cx="782638"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FE53C11-FDE6-4B1A-A51A-AE3167DB5416}" type="datetime'''''+''''''1''''1''''''''.''''2''''''''''''''''%'''''''''''">
              <a:rPr lang="es-MX" altLang="en-US" sz="1400" b="1" smtClean="0">
                <a:effectLst/>
                <a:latin typeface="Montserrat" panose="00000500000000000000" pitchFamily="2" charset="0"/>
              </a:rPr>
              <a:pPr marL="0" indent="0" algn="ctr">
                <a:spcBef>
                  <a:spcPct val="0"/>
                </a:spcBef>
                <a:spcAft>
                  <a:spcPct val="0"/>
                </a:spcAft>
                <a:buNone/>
              </a:pPr>
              <a:t>+11.2%</a:t>
            </a:fld>
            <a:endParaRPr lang="es-MX" sz="1400" b="1">
              <a:latin typeface="Montserrat" panose="00000500000000000000" pitchFamily="2" charset="0"/>
              <a:sym typeface="Montserrat" panose="00000500000000000000" pitchFamily="2" charset="0"/>
            </a:endParaRPr>
          </a:p>
        </p:txBody>
      </p:sp>
      <p:sp>
        <p:nvSpPr>
          <p:cNvPr id="57" name="Rectángulo 56">
            <a:extLst>
              <a:ext uri="{FF2B5EF4-FFF2-40B4-BE49-F238E27FC236}">
                <a16:creationId xmlns:a16="http://schemas.microsoft.com/office/drawing/2014/main" id="{4F51B16D-C4FE-40DF-E65C-6B55C5D818E2}"/>
              </a:ext>
            </a:extLst>
          </p:cNvPr>
          <p:cNvSpPr/>
          <p:nvPr/>
        </p:nvSpPr>
        <p:spPr>
          <a:xfrm>
            <a:off x="6551137" y="1410426"/>
            <a:ext cx="1614488" cy="261938"/>
          </a:xfrm>
          <a:prstGeom prst="rect">
            <a:avLst/>
          </a:prstGeom>
        </p:spPr>
        <p:txBody>
          <a:bodyPr wrap="square">
            <a:spAutoFit/>
          </a:bodyPr>
          <a:lstStyle/>
          <a:p>
            <a:pPr defTabSz="914377">
              <a:defRPr/>
            </a:pPr>
            <a:r>
              <a:rPr lang="es-CL" sz="1100" kern="0">
                <a:solidFill>
                  <a:srgbClr val="404040"/>
                </a:solidFill>
                <a:latin typeface="Montserrat" pitchFamily="2" charset="77"/>
              </a:rPr>
              <a:t>(CLP </a:t>
            </a:r>
            <a:r>
              <a:rPr lang="es-CL" sz="1100" kern="0" err="1">
                <a:solidFill>
                  <a:srgbClr val="404040"/>
                </a:solidFill>
                <a:latin typeface="Montserrat" pitchFamily="2" charset="77"/>
              </a:rPr>
              <a:t>Million</a:t>
            </a:r>
            <a:r>
              <a:rPr lang="es-CL" sz="1100" kern="0">
                <a:solidFill>
                  <a:srgbClr val="404040"/>
                </a:solidFill>
                <a:latin typeface="Montserrat" pitchFamily="2" charset="77"/>
              </a:rPr>
              <a:t>)</a:t>
            </a:r>
          </a:p>
        </p:txBody>
      </p:sp>
      <p:sp>
        <p:nvSpPr>
          <p:cNvPr id="58" name="CuadroTexto 57">
            <a:extLst>
              <a:ext uri="{FF2B5EF4-FFF2-40B4-BE49-F238E27FC236}">
                <a16:creationId xmlns:a16="http://schemas.microsoft.com/office/drawing/2014/main" id="{B40EEE1B-A36F-732C-212A-B6691EEC8785}"/>
              </a:ext>
            </a:extLst>
          </p:cNvPr>
          <p:cNvSpPr txBox="1"/>
          <p:nvPr/>
        </p:nvSpPr>
        <p:spPr>
          <a:xfrm>
            <a:off x="6563747" y="1190558"/>
            <a:ext cx="3225800" cy="306388"/>
          </a:xfrm>
          <a:prstGeom prst="rect">
            <a:avLst/>
          </a:prstGeom>
          <a:noFill/>
          <a:ln>
            <a:noFill/>
          </a:ln>
        </p:spPr>
        <p:txBody>
          <a:bodyPr wrap="square" rtlCol="0">
            <a:spAutoFit/>
          </a:bodyPr>
          <a:lstStyle/>
          <a:p>
            <a:r>
              <a:rPr lang="es-MX" sz="1400" b="1" err="1">
                <a:solidFill>
                  <a:schemeClr val="tx1">
                    <a:lumMod val="75000"/>
                  </a:schemeClr>
                </a:solidFill>
                <a:latin typeface="Montserrat" pitchFamily="2" charset="77"/>
              </a:rPr>
              <a:t>Consolidated</a:t>
            </a:r>
            <a:r>
              <a:rPr lang="es-MX" sz="1400" b="1">
                <a:solidFill>
                  <a:schemeClr val="tx1">
                    <a:lumMod val="75000"/>
                  </a:schemeClr>
                </a:solidFill>
                <a:latin typeface="Montserrat" pitchFamily="2" charset="77"/>
              </a:rPr>
              <a:t> </a:t>
            </a:r>
            <a:r>
              <a:rPr lang="es-MX" sz="1400" b="1" err="1">
                <a:solidFill>
                  <a:schemeClr val="tx1">
                    <a:lumMod val="75000"/>
                  </a:schemeClr>
                </a:solidFill>
                <a:latin typeface="Montserrat" pitchFamily="2" charset="77"/>
              </a:rPr>
              <a:t>Adjusted</a:t>
            </a:r>
            <a:r>
              <a:rPr lang="es-MX" sz="1400" b="1">
                <a:solidFill>
                  <a:schemeClr val="tx1">
                    <a:lumMod val="75000"/>
                  </a:schemeClr>
                </a:solidFill>
                <a:latin typeface="Montserrat" pitchFamily="2" charset="77"/>
              </a:rPr>
              <a:t> EBITDA</a:t>
            </a:r>
            <a:endParaRPr lang="es-MX" sz="1400" b="1" baseline="30000">
              <a:solidFill>
                <a:schemeClr val="tx1">
                  <a:lumMod val="75000"/>
                </a:schemeClr>
              </a:solidFill>
              <a:latin typeface="Montserrat" pitchFamily="2" charset="77"/>
            </a:endParaRPr>
          </a:p>
        </p:txBody>
      </p:sp>
      <p:grpSp>
        <p:nvGrpSpPr>
          <p:cNvPr id="80" name="Grupo 79">
            <a:extLst>
              <a:ext uri="{FF2B5EF4-FFF2-40B4-BE49-F238E27FC236}">
                <a16:creationId xmlns:a16="http://schemas.microsoft.com/office/drawing/2014/main" id="{6ABE53E3-7D24-CA1B-EF93-181318E35F3F}"/>
              </a:ext>
            </a:extLst>
          </p:cNvPr>
          <p:cNvGrpSpPr/>
          <p:nvPr/>
        </p:nvGrpSpPr>
        <p:grpSpPr>
          <a:xfrm>
            <a:off x="101169" y="4669704"/>
            <a:ext cx="5579491" cy="1536931"/>
            <a:chOff x="89639" y="4428200"/>
            <a:chExt cx="5464407" cy="1848779"/>
          </a:xfrm>
        </p:grpSpPr>
        <p:sp>
          <p:nvSpPr>
            <p:cNvPr id="81" name="CuadroTexto 80">
              <a:extLst>
                <a:ext uri="{FF2B5EF4-FFF2-40B4-BE49-F238E27FC236}">
                  <a16:creationId xmlns:a16="http://schemas.microsoft.com/office/drawing/2014/main" id="{7F434679-4DC9-6788-1D9C-3923B0ECAC56}"/>
                </a:ext>
              </a:extLst>
            </p:cNvPr>
            <p:cNvSpPr txBox="1"/>
            <p:nvPr/>
          </p:nvSpPr>
          <p:spPr>
            <a:xfrm>
              <a:off x="339364" y="4428200"/>
              <a:ext cx="5035958" cy="407248"/>
            </a:xfrm>
            <a:prstGeom prst="rect">
              <a:avLst/>
            </a:prstGeom>
            <a:noFill/>
          </p:spPr>
          <p:txBody>
            <a:bodyPr wrap="square" rtlCol="0">
              <a:spAutoFit/>
            </a:bodyPr>
            <a:lstStyle/>
            <a:p>
              <a:pPr algn="just"/>
              <a:r>
                <a:rPr lang="en-US" sz="1600" b="1">
                  <a:solidFill>
                    <a:schemeClr val="tx1">
                      <a:lumMod val="75000"/>
                    </a:schemeClr>
                  </a:solidFill>
                  <a:latin typeface="Montserrat" pitchFamily="2" charset="77"/>
                  <a:sym typeface="Wingdings" panose="05000000000000000000" pitchFamily="2" charset="2"/>
                </a:rPr>
                <a:t>Revenue Grows 10.1%, driven by:</a:t>
              </a:r>
              <a:endParaRPr lang="es-CL" sz="1600" b="1">
                <a:solidFill>
                  <a:schemeClr val="tx1">
                    <a:lumMod val="75000"/>
                  </a:schemeClr>
                </a:solidFill>
                <a:latin typeface="Montserrat" pitchFamily="2" charset="77"/>
              </a:endParaRPr>
            </a:p>
          </p:txBody>
        </p:sp>
        <p:sp>
          <p:nvSpPr>
            <p:cNvPr id="82" name="Rectángulo 81">
              <a:extLst>
                <a:ext uri="{FF2B5EF4-FFF2-40B4-BE49-F238E27FC236}">
                  <a16:creationId xmlns:a16="http://schemas.microsoft.com/office/drawing/2014/main" id="{F04E3F0C-5E10-DEDA-39F0-4A76AD9F4FF2}"/>
                </a:ext>
              </a:extLst>
            </p:cNvPr>
            <p:cNvSpPr/>
            <p:nvPr/>
          </p:nvSpPr>
          <p:spPr>
            <a:xfrm>
              <a:off x="89639" y="4778105"/>
              <a:ext cx="5464407" cy="1498874"/>
            </a:xfrm>
            <a:prstGeom prst="rect">
              <a:avLst/>
            </a:prstGeom>
          </p:spPr>
          <p:txBody>
            <a:bodyPr wrap="square">
              <a:spAutoFit/>
            </a:bodyPr>
            <a:lstStyle/>
            <a:p>
              <a:pPr marL="550856" lvl="1" indent="-285750" algn="just" defTabSz="914377">
                <a:lnSpc>
                  <a:spcPct val="150000"/>
                </a:lnSpc>
                <a:spcBef>
                  <a:spcPts val="300"/>
                </a:spcBef>
                <a:buClr>
                  <a:srgbClr val="92D050"/>
                </a:buClr>
                <a:buSzPct val="130000"/>
                <a:buFont typeface="Montserrat" panose="00000500000000000000" pitchFamily="2" charset="0"/>
                <a:buChar char="▲"/>
                <a:defRPr/>
              </a:pPr>
              <a:r>
                <a:rPr lang="en-US" sz="1200" kern="0" dirty="0">
                  <a:latin typeface="Montserrat" pitchFamily="2" charset="77"/>
                </a:rPr>
                <a:t>Increase in variable rent due to higher tenant sales.</a:t>
              </a:r>
            </a:p>
            <a:p>
              <a:pPr marL="550856" lvl="1" indent="-285750" algn="just" defTabSz="914377">
                <a:lnSpc>
                  <a:spcPct val="150000"/>
                </a:lnSpc>
                <a:spcBef>
                  <a:spcPts val="300"/>
                </a:spcBef>
                <a:buClr>
                  <a:srgbClr val="92D050"/>
                </a:buClr>
                <a:buSzPct val="130000"/>
                <a:buFont typeface="Montserrat" panose="00000500000000000000" pitchFamily="2" charset="0"/>
                <a:buChar char="▲"/>
                <a:defRPr/>
              </a:pPr>
              <a:r>
                <a:rPr lang="en-US" sz="1200" kern="0" dirty="0">
                  <a:latin typeface="Montserrat" pitchFamily="2" charset="77"/>
                </a:rPr>
                <a:t>Addition of ~20,000 sqm of GLA vs 1Q24.</a:t>
              </a:r>
            </a:p>
            <a:p>
              <a:pPr marL="550856" lvl="1" indent="-285750" algn="just" defTabSz="914377">
                <a:lnSpc>
                  <a:spcPct val="150000"/>
                </a:lnSpc>
                <a:spcBef>
                  <a:spcPts val="300"/>
                </a:spcBef>
                <a:buClr>
                  <a:srgbClr val="92D050"/>
                </a:buClr>
                <a:buSzPct val="130000"/>
                <a:buFont typeface="Montserrat" panose="00000500000000000000" pitchFamily="2" charset="0"/>
                <a:buChar char="▲"/>
                <a:defRPr/>
              </a:pPr>
              <a:r>
                <a:rPr lang="en-US" sz="1200" kern="0" dirty="0">
                  <a:latin typeface="Montserrat" pitchFamily="2" charset="77"/>
                </a:rPr>
                <a:t>Higher fixed income from inflation adjustments in lease agreements.</a:t>
              </a:r>
              <a:endParaRPr lang="es-CL" sz="1200" kern="0" dirty="0">
                <a:latin typeface="Montserrat" pitchFamily="2" charset="77"/>
              </a:endParaRPr>
            </a:p>
          </p:txBody>
        </p:sp>
      </p:grpSp>
      <p:grpSp>
        <p:nvGrpSpPr>
          <p:cNvPr id="83" name="Grupo 82">
            <a:extLst>
              <a:ext uri="{FF2B5EF4-FFF2-40B4-BE49-F238E27FC236}">
                <a16:creationId xmlns:a16="http://schemas.microsoft.com/office/drawing/2014/main" id="{D930F4E2-7A42-3653-EF7C-7283828EF049}"/>
              </a:ext>
            </a:extLst>
          </p:cNvPr>
          <p:cNvGrpSpPr/>
          <p:nvPr/>
        </p:nvGrpSpPr>
        <p:grpSpPr>
          <a:xfrm>
            <a:off x="6099202" y="4690454"/>
            <a:ext cx="5847317" cy="1215971"/>
            <a:chOff x="6225258" y="4428200"/>
            <a:chExt cx="5385291" cy="1960002"/>
          </a:xfrm>
        </p:grpSpPr>
        <p:sp>
          <p:nvSpPr>
            <p:cNvPr id="84" name="CuadroTexto 83">
              <a:extLst>
                <a:ext uri="{FF2B5EF4-FFF2-40B4-BE49-F238E27FC236}">
                  <a16:creationId xmlns:a16="http://schemas.microsoft.com/office/drawing/2014/main" id="{AE1C4C64-B402-1E60-EC26-E6FC97B4CB5E}"/>
                </a:ext>
              </a:extLst>
            </p:cNvPr>
            <p:cNvSpPr txBox="1"/>
            <p:nvPr/>
          </p:nvSpPr>
          <p:spPr>
            <a:xfrm>
              <a:off x="6388231" y="4428200"/>
              <a:ext cx="5178458" cy="545710"/>
            </a:xfrm>
            <a:prstGeom prst="rect">
              <a:avLst/>
            </a:prstGeom>
            <a:noFill/>
          </p:spPr>
          <p:txBody>
            <a:bodyPr wrap="square" rtlCol="0">
              <a:spAutoFit/>
            </a:bodyPr>
            <a:lstStyle/>
            <a:p>
              <a:pPr algn="just">
                <a:spcBef>
                  <a:spcPts val="600"/>
                </a:spcBef>
                <a:buClr>
                  <a:srgbClr val="002060"/>
                </a:buClr>
              </a:pPr>
              <a:r>
                <a:rPr lang="en-US" sz="1600" b="1">
                  <a:solidFill>
                    <a:schemeClr val="tx1">
                      <a:lumMod val="75000"/>
                    </a:schemeClr>
                  </a:solidFill>
                  <a:latin typeface="Montserrat" pitchFamily="2" charset="77"/>
                </a:rPr>
                <a:t>Adjusted EBITDA Grows 11.2%, driven by:</a:t>
              </a:r>
              <a:endParaRPr lang="es-CL" sz="1600">
                <a:solidFill>
                  <a:schemeClr val="tx1">
                    <a:lumMod val="75000"/>
                  </a:schemeClr>
                </a:solidFill>
                <a:latin typeface="Montserrat" pitchFamily="2" charset="77"/>
              </a:endParaRPr>
            </a:p>
          </p:txBody>
        </p:sp>
        <p:sp>
          <p:nvSpPr>
            <p:cNvPr id="85" name="Rectángulo 84">
              <a:extLst>
                <a:ext uri="{FF2B5EF4-FFF2-40B4-BE49-F238E27FC236}">
                  <a16:creationId xmlns:a16="http://schemas.microsoft.com/office/drawing/2014/main" id="{C2043354-14EB-A4B1-0A7D-BDBB223A7740}"/>
                </a:ext>
              </a:extLst>
            </p:cNvPr>
            <p:cNvSpPr/>
            <p:nvPr/>
          </p:nvSpPr>
          <p:spPr>
            <a:xfrm>
              <a:off x="6225258" y="4888223"/>
              <a:ext cx="5385291" cy="1499979"/>
            </a:xfrm>
            <a:prstGeom prst="rect">
              <a:avLst/>
            </a:prstGeom>
          </p:spPr>
          <p:txBody>
            <a:bodyPr wrap="square">
              <a:spAutoFit/>
            </a:bodyPr>
            <a:lstStyle/>
            <a:p>
              <a:pPr marL="550856" lvl="1" indent="-285750" algn="just" defTabSz="914377">
                <a:lnSpc>
                  <a:spcPct val="150000"/>
                </a:lnSpc>
                <a:spcBef>
                  <a:spcPts val="300"/>
                </a:spcBef>
                <a:buClr>
                  <a:srgbClr val="92D050"/>
                </a:buClr>
                <a:buSzPct val="130000"/>
                <a:buFont typeface="Montserrat" panose="00000500000000000000" pitchFamily="2" charset="0"/>
                <a:buChar char="▲"/>
                <a:defRPr/>
              </a:pPr>
              <a:r>
                <a:rPr lang="en-US" sz="1200" kern="0" dirty="0">
                  <a:latin typeface="Montserrat" pitchFamily="2" charset="77"/>
                </a:rPr>
                <a:t>Expansion of gross profit by 10.8% YoY.</a:t>
              </a:r>
            </a:p>
            <a:p>
              <a:pPr marL="550856" lvl="1" indent="-285750" algn="just" defTabSz="914377">
                <a:lnSpc>
                  <a:spcPct val="150000"/>
                </a:lnSpc>
                <a:spcBef>
                  <a:spcPts val="300"/>
                </a:spcBef>
                <a:buClr>
                  <a:srgbClr val="FF0000"/>
                </a:buClr>
                <a:buSzPct val="130000"/>
                <a:buFont typeface="Montserrat" panose="00000500000000000000" pitchFamily="2" charset="0"/>
                <a:buChar char="▼"/>
                <a:defRPr/>
              </a:pPr>
              <a:r>
                <a:rPr lang="en-US" sz="1200" kern="0" dirty="0">
                  <a:latin typeface="Montserrat" pitchFamily="2" charset="77"/>
                </a:rPr>
                <a:t>Partially offset by higher expenses, mainly related to inflation and team strengthening.</a:t>
              </a:r>
              <a:endParaRPr lang="es-CL" sz="1400" kern="0" dirty="0">
                <a:latin typeface="Montserrat" pitchFamily="2" charset="77"/>
              </a:endParaRPr>
            </a:p>
          </p:txBody>
        </p:sp>
      </p:grpSp>
      <p:cxnSp>
        <p:nvCxnSpPr>
          <p:cNvPr id="86" name="Conector recto 85">
            <a:extLst>
              <a:ext uri="{FF2B5EF4-FFF2-40B4-BE49-F238E27FC236}">
                <a16:creationId xmlns:a16="http://schemas.microsoft.com/office/drawing/2014/main" id="{B7A6D01B-5615-E2D5-FAFD-8EF35437EA5A}"/>
              </a:ext>
            </a:extLst>
          </p:cNvPr>
          <p:cNvCxnSpPr>
            <a:cxnSpLocks/>
          </p:cNvCxnSpPr>
          <p:nvPr/>
        </p:nvCxnSpPr>
        <p:spPr>
          <a:xfrm>
            <a:off x="5911424" y="4690831"/>
            <a:ext cx="0" cy="1663760"/>
          </a:xfrm>
          <a:prstGeom prst="line">
            <a:avLst/>
          </a:prstGeom>
          <a:ln>
            <a:solidFill>
              <a:srgbClr val="021766"/>
            </a:solidFill>
          </a:ln>
        </p:spPr>
        <p:style>
          <a:lnRef idx="1">
            <a:schemeClr val="accent3"/>
          </a:lnRef>
          <a:fillRef idx="0">
            <a:schemeClr val="accent3"/>
          </a:fillRef>
          <a:effectRef idx="0">
            <a:schemeClr val="accent3"/>
          </a:effectRef>
          <a:fontRef idx="minor">
            <a:schemeClr val="tx1"/>
          </a:fontRef>
        </p:style>
      </p:cxnSp>
      <p:sp>
        <p:nvSpPr>
          <p:cNvPr id="5" name="CuadroTexto 4">
            <a:extLst>
              <a:ext uri="{FF2B5EF4-FFF2-40B4-BE49-F238E27FC236}">
                <a16:creationId xmlns:a16="http://schemas.microsoft.com/office/drawing/2014/main" id="{A3FE7B05-BF85-D086-F95C-EF0D547E382E}"/>
              </a:ext>
            </a:extLst>
          </p:cNvPr>
          <p:cNvSpPr txBox="1"/>
          <p:nvPr/>
        </p:nvSpPr>
        <p:spPr>
          <a:xfrm>
            <a:off x="491796" y="207049"/>
            <a:ext cx="6466866" cy="553998"/>
          </a:xfrm>
          <a:prstGeom prst="rect">
            <a:avLst/>
          </a:prstGeom>
          <a:noFill/>
        </p:spPr>
        <p:txBody>
          <a:bodyPr wrap="square" rtlCol="0">
            <a:spAutoFit/>
          </a:bodyPr>
          <a:lstStyle/>
          <a:p>
            <a:r>
              <a:rPr lang="es-CL" sz="3000" b="1">
                <a:solidFill>
                  <a:schemeClr val="accent3"/>
                </a:solidFill>
                <a:latin typeface="Poppins" pitchFamily="2" charset="77"/>
                <a:cs typeface="Poppins" pitchFamily="2" charset="77"/>
              </a:rPr>
              <a:t>2.1 </a:t>
            </a:r>
            <a:r>
              <a:rPr kumimoji="0" lang="es-CL" sz="3000" b="1" i="0" u="none" strike="noStrike" kern="1200" cap="none" spc="0" normalizeH="0" baseline="0" noProof="0">
                <a:ln>
                  <a:noFill/>
                </a:ln>
                <a:solidFill>
                  <a:schemeClr val="tx2"/>
                </a:solidFill>
                <a:effectLst/>
                <a:uLnTx/>
                <a:uFillTx/>
                <a:latin typeface="Poppins" pitchFamily="2" charset="77"/>
                <a:cs typeface="Poppins" pitchFamily="2" charset="77"/>
              </a:rPr>
              <a:t>1Q25 Executive </a:t>
            </a:r>
            <a:r>
              <a:rPr kumimoji="0" lang="es-CL" sz="3000" b="1" i="0" u="none" strike="noStrike" kern="1200" cap="none" spc="0" normalizeH="0" baseline="0" noProof="0" err="1">
                <a:ln>
                  <a:noFill/>
                </a:ln>
                <a:solidFill>
                  <a:schemeClr val="tx2"/>
                </a:solidFill>
                <a:effectLst/>
                <a:uLnTx/>
                <a:uFillTx/>
                <a:latin typeface="Poppins" pitchFamily="2" charset="77"/>
                <a:cs typeface="Poppins" pitchFamily="2" charset="77"/>
              </a:rPr>
              <a:t>Summary</a:t>
            </a:r>
            <a:endParaRPr lang="es-CL" sz="3000" b="1">
              <a:solidFill>
                <a:schemeClr val="tx2"/>
              </a:solidFill>
              <a:latin typeface="Poppins" pitchFamily="2" charset="77"/>
              <a:cs typeface="Poppins" pitchFamily="2" charset="77"/>
            </a:endParaRPr>
          </a:p>
        </p:txBody>
      </p:sp>
      <p:sp>
        <p:nvSpPr>
          <p:cNvPr id="2" name="Marcador de número de diapositiva 1">
            <a:extLst>
              <a:ext uri="{FF2B5EF4-FFF2-40B4-BE49-F238E27FC236}">
                <a16:creationId xmlns:a16="http://schemas.microsoft.com/office/drawing/2014/main" id="{621E7C46-D50F-C125-0E56-B3E90061738D}"/>
              </a:ext>
            </a:extLst>
          </p:cNvPr>
          <p:cNvSpPr>
            <a:spLocks noGrp="1"/>
          </p:cNvSpPr>
          <p:nvPr>
            <p:ph type="sldNum" sz="quarter" idx="4"/>
          </p:nvPr>
        </p:nvSpPr>
        <p:spPr>
          <a:xfrm>
            <a:off x="11417299" y="6374469"/>
            <a:ext cx="774701" cy="365125"/>
          </a:xfrm>
        </p:spPr>
        <p:txBody>
          <a:bodyPr/>
          <a:lstStyle/>
          <a:p>
            <a:r>
              <a:rPr lang="es-CL"/>
              <a:t>| </a:t>
            </a:r>
            <a:fld id="{7FD00258-9FF3-104F-B9FD-5624932679BF}" type="slidenum">
              <a:rPr lang="es-CL" smtClean="0"/>
              <a:pPr/>
              <a:t>9</a:t>
            </a:fld>
            <a:endParaRPr lang="es-CL"/>
          </a:p>
        </p:txBody>
      </p:sp>
      <p:sp>
        <p:nvSpPr>
          <p:cNvPr id="3" name="Título 1">
            <a:extLst>
              <a:ext uri="{FF2B5EF4-FFF2-40B4-BE49-F238E27FC236}">
                <a16:creationId xmlns:a16="http://schemas.microsoft.com/office/drawing/2014/main" id="{6FE565FD-0B70-41F8-8DAF-BC3E35467563}"/>
              </a:ext>
            </a:extLst>
          </p:cNvPr>
          <p:cNvSpPr txBox="1">
            <a:spLocks/>
          </p:cNvSpPr>
          <p:nvPr/>
        </p:nvSpPr>
        <p:spPr>
          <a:xfrm>
            <a:off x="8755309" y="6354768"/>
            <a:ext cx="3676624" cy="4489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b="1" i="0" kern="1200">
                <a:solidFill>
                  <a:schemeClr val="tx1"/>
                </a:solidFill>
                <a:latin typeface="Montserrat SemiBold" pitchFamily="2" charset="77"/>
                <a:ea typeface="+mj-ea"/>
                <a:cs typeface="+mj-cs"/>
              </a:defRPr>
            </a:lvl1pPr>
          </a:lstStyle>
          <a:p>
            <a:r>
              <a:rPr lang="es-MX" sz="800" b="1" err="1">
                <a:solidFill>
                  <a:schemeClr val="tx2"/>
                </a:solidFill>
                <a:latin typeface="Poppins" pitchFamily="2" charset="77"/>
                <a:cs typeface="Poppins" pitchFamily="2" charset="77"/>
              </a:rPr>
              <a:t>Earning</a:t>
            </a:r>
            <a:r>
              <a:rPr lang="es-MX" sz="800" b="1">
                <a:solidFill>
                  <a:schemeClr val="tx2"/>
                </a:solidFill>
                <a:latin typeface="Poppins" pitchFamily="2" charset="77"/>
                <a:cs typeface="Poppins" pitchFamily="2" charset="77"/>
              </a:rPr>
              <a:t> </a:t>
            </a:r>
            <a:r>
              <a:rPr lang="es-MX" sz="800" b="1" err="1">
                <a:solidFill>
                  <a:schemeClr val="tx2"/>
                </a:solidFill>
                <a:latin typeface="Poppins" pitchFamily="2" charset="77"/>
                <a:cs typeface="Poppins" pitchFamily="2" charset="77"/>
              </a:rPr>
              <a:t>Presentation</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First</a:t>
            </a:r>
            <a:r>
              <a:rPr lang="es-MX" sz="800" b="0">
                <a:solidFill>
                  <a:schemeClr val="tx2"/>
                </a:solidFill>
                <a:latin typeface="Poppins" pitchFamily="2" charset="77"/>
                <a:cs typeface="Poppins" pitchFamily="2" charset="77"/>
              </a:rPr>
              <a:t> </a:t>
            </a:r>
            <a:r>
              <a:rPr lang="es-MX" sz="800" b="0" err="1">
                <a:solidFill>
                  <a:schemeClr val="tx2"/>
                </a:solidFill>
                <a:latin typeface="Poppins" pitchFamily="2" charset="77"/>
                <a:cs typeface="Poppins" pitchFamily="2" charset="77"/>
              </a:rPr>
              <a:t>Quarter</a:t>
            </a:r>
            <a:r>
              <a:rPr lang="es-MX" sz="800" b="0">
                <a:solidFill>
                  <a:schemeClr val="tx2"/>
                </a:solidFill>
                <a:latin typeface="Poppins" pitchFamily="2" charset="77"/>
                <a:cs typeface="Poppins" pitchFamily="2" charset="77"/>
              </a:rPr>
              <a:t> 2025</a:t>
            </a:r>
            <a:endParaRPr lang="es-CL" sz="800" b="0">
              <a:solidFill>
                <a:schemeClr val="tx2"/>
              </a:solidFill>
              <a:latin typeface="Poppins" pitchFamily="2" charset="77"/>
              <a:cs typeface="Poppins" pitchFamily="2" charset="77"/>
            </a:endParaRPr>
          </a:p>
        </p:txBody>
      </p:sp>
    </p:spTree>
    <p:extLst>
      <p:ext uri="{BB962C8B-B14F-4D97-AF65-F5344CB8AC3E}">
        <p14:creationId xmlns:p14="http://schemas.microsoft.com/office/powerpoint/2010/main" val="16298679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7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zV76gL5N2FWfOMfP9BPp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A6E3G6Wuuy_rpkLwsAIKh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QkaJ9hycKvyc8a2XywEw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9N7DOqZ0O2IuB79EvjWfI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IXBr7HeydRi6pFfgNV7cV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Naws1I7Ge5DBxSM2iIW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nZmE8iksxOHMLHNOfnaL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EK52y4f5zWsd5GJ4JcvV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lATC27nHidb.3bOTlN2aR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uiDs6yv8Wy8RAWFeOXwF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R37v87eK3EjQ3aRt1wy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yLlv2xxn3jlleRtzVWC65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Xr1O2GgRhhVotYknG6rE0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p6FWttAXfyeTnCydczvc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tt5IkTyuLOt23eLooWB1f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IlHOpbnG2cJCTcaNycZAE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TcSPTcmdJKDEFM7LN6lqZ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jcVVjGy3b9E4zdXW.e8n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SeLwciwMK_qSB8vROtVMX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8Aii1H2cspYUm9QaJQrkS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QpjUq1E1D_ZlB3Ua9pay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jpA_I8Cm_VZsHGyXJW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pQWVY0wJhIlXsapzcvkA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W4IS5ZAAWJUnqnN7.TaV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8LrNhBdis9f3rFKiW5vp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PH4zmaD2o7qTas2lj8R0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JpvsEOIVTeIL4ivB4bfW9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QKUwztUJQTrXVyBH63.DN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MnCfdcwIGmJjj3H96hi39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puBO9AtbRyJOTwXAFmmaK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clHJuQ5RqgBXlHBRM00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77wYPOL4IjH671gMMi.Ve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KCZ06hQf7bK7X7IztFa.p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8Au45.XpFxTUXkuBNWiOj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0MqEjKgejHWy4OsVlFXBe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j8eiu3xl9_A29GXcYF_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iaGdr_XhUwzjKr2M03lH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cahY5tNhjmrv4JunmAoFq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Fz49UrwAyJK27E5uao9M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skdQFbYT6kICLu_J4A5_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JiaGdr_XhUwzjKr2M03lH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JiaGdr_XhUwzjKr2M03l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Qx4yZQoVozbkI_wKA8ps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JiaGdr_XhUwzjKr2M03lH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899VbK6Hg62rcP0l5jgOl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0NhbvqoUBdbhDozP7i2I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7RI_ue_9BQierK5zZZc6V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PnVkp7pVz5j23kFJOdAJR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7KkutL2iJZV6exgZOhzx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v.kEtWTeMZuhwm7YbW8Y6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7iknLo.BvGXPudZOIt9p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JBT9Xnqj6huqtnF7aw1CN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pn5gHO5tFLgPKTmOdlieu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fp_WV7OlihDetb497dogP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lcWlig8b2apGGdIuLIZH4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VLvjqqquMwIKJiNY_cJKl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SnbKihpn7CRYYuqYOY1P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D6cLqd_DibMR.4g8U4Ag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cASI8nOQA01j2GyQPzpgb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kEVE3FuygF4dJHtDAbFd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AB4XWeEGL_xPf0yBQ48e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9gQ4uj7GORKE.ayNwS4E1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lnuKRrqOroF5uh_.TKgOf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axslvJSB4oZt2QYzDLat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_bfyA_d0hMXDwmefVTlc4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XWCED7.VimISLsAscUuqu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jGPcjgMYZQUfsNtJ1zNP2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55KGcYFc3_mOWeKfcaqz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wNDMdPNa1FdFAgLQAnK7a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VswP2YmX2.ZjWFjLRNEu6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04my.Da6AX7xepN.L0xNn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LgbNSQ7bqS55xaiQWwA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L6kwtw84T75vPw0a7_bl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evEQI7f8zxWoVWXRZOhHs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cTYUfy7s7..qQN2zmVH6I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oR6C92OJmadWto39lcJ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1QeiuSAdMV50bVhdum3k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KYm5EhJxetnhnioxwGBp7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0CCBK_lD3JK37cbgVRS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i.B0dd22aPDECEcskf9r9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Qu.VVB9gr.SKEosNNEnho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l.rR74YRHpeZRt2znPpRN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TsWH0QBqowjTAXqB3KpU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1VBjc_6SPeosFyClnRyRu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XXk.pzKxsnzx18uzJEb4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d6swje0VS.7Os2YACfCM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ZoDW_ljFkZKM5rOkqC1W8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9oEb3eAaSBQaiFItJ_xlZ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ghUT2f9b.ImXlmar0UT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b.G6nFcvUXqsn6n8Aras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gPFAZfAieoyLoR4_DLG3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XwAmKHh5ixB9fTH2IZUw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3SIG4uEfEsLQ7QV80ll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pzqRN7yNnihG1vhwRTY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8Uk9V5FtPvDHld12zri_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1a8WR7Oququ6JGqxTuS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eueGcoAEvQEVJUHXE4w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JLtLvJzNe8HOWbyolw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5Cren1kFzQUNuyETa8L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uhODLLDupp7eELxxmrD2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VToPTNafXIHXxIP82tiE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ipj1IJW2H19.k7dOVjT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rHnDr3iIvXyd39JnLlh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dXUB7XOOqph5gEsn3SU2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Cqmjzj6r4JPtVNDwc313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HAbb.pI9TiuJAOzqoPB0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wAtfUuVG6.uV4SfEvHn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byCbBwoR3csx1.K3O2UW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N1q1_xW9IvugrIv8PLd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UBkyzfG_sK3abX6QuSy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i4JJZYJ7u7H70UooGo1d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kEO7lCd_Ys8W18K9tuGW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frKucMPIhJKiGhW0Dk2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tB3bo9BmVuqpIp1NKlX6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De2E9YgzcO9P3e8_3_iB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SimLqj.WJbUhpusCTNV_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OHCcw91Qt6owCoxoiGr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8zo5M.QkMHczxsgcxhVM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miARG0MtdtPNUapZuPOG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7aOhXc2EwVTahyqfiFjb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JOlHoI9Zx5nZ6GfXoTS7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5kq9zfZQv9Twd_qq_cU9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Xrvhgehll.3vgKpbEsQi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S7TwY8Do_guryKpOhG3X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Vo0LeZgCr4jc9Kfs48uq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vSxqz691BqryLaJlADG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r6nnH_xQQHD0ox8F_5iL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7IvSf1_qnFfh49Cz4PYR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xYwH6da_kQ4ouAkWQOFA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6xyJxwZC6SiCNg5Nv_SK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7Ru7P2rFzohO6wyNUjnH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KpwbwQYhdMR2Op33NAUI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aZc7RWTTghZDFzorRNkkD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2FcYRE71zC38C0pOS0mvt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F2DBDlFCk251RRR1Zbm9d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9q03sjvpDCmujW1Pe3p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GJpigbEjuZ_Sw_PB0jLOC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n_C.8kd9ALllMaXKprT6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qL_pqP.7HCdpvRTqRudG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hImi9U8SCOHg5LyRAprf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bdalYGbvF7HrtCFjdwkn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vHqyCmZcgRQSre.wD2O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3890zHcxr1JiE.X9yi09F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XPYWkXgOCqL9jYGwOeg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SOvqXDjKx30LfSi4okUL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Zf.ivMOvALRAuNmU8OkB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3UDhcd5bM6n0sNG2dG2J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JWpTM9L2CRuvDP.F9jOe3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6UBPROVrylFC7K4PX9Mbz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NcWfDEt6L0P1SHs1eZ4dD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3_yYe9fXo2INaBAdwWl7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_4XlxfXdGTQ20DJTKKCkc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jnwCh4XCnsDjI3NMO4.g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mPGxV.CJylET9_15aQG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lE_T0ar3B3.KoHoeTK5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EwDuNXKRN6zFrd9cG_Es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ks0rI6mTlP9JBBNmYAHH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iYKf1nUUnNv9iH8nSAR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pCPTpvsdLzlBnrIJSWfp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mSMlpERCJCVmjJOuXuWp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mf2fUu0Jnxmxz2yaTHhQ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fomxnpjWEBt_8WXCCleh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rRkPOOwO7SyOt8.f6jIW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XTs0_QBn0TBOK5ohbcfo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sXIH38Fr99YvgMh27tUyfQ"/>
</p:tagLst>
</file>

<file path=ppt/theme/theme1.xml><?xml version="1.0" encoding="utf-8"?>
<a:theme xmlns:a="http://schemas.openxmlformats.org/drawingml/2006/main" name="Tema de Office">
  <a:themeElements>
    <a:clrScheme name="Cenco Malls">
      <a:dk1>
        <a:srgbClr val="353535"/>
      </a:dk1>
      <a:lt1>
        <a:srgbClr val="FFFFFF"/>
      </a:lt1>
      <a:dk2>
        <a:srgbClr val="241660"/>
      </a:dk2>
      <a:lt2>
        <a:srgbClr val="DAEBF2"/>
      </a:lt2>
      <a:accent1>
        <a:srgbClr val="00B1FF"/>
      </a:accent1>
      <a:accent2>
        <a:srgbClr val="8200FF"/>
      </a:accent2>
      <a:accent3>
        <a:srgbClr val="C230FF"/>
      </a:accent3>
      <a:accent4>
        <a:srgbClr val="FFD700"/>
      </a:accent4>
      <a:accent5>
        <a:srgbClr val="FFF9DE"/>
      </a:accent5>
      <a:accent6>
        <a:srgbClr val="FF7E3E"/>
      </a:accent6>
      <a:hlink>
        <a:srgbClr val="CD56D4"/>
      </a:hlink>
      <a:folHlink>
        <a:srgbClr val="595FC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ersonalizados 1">
    <a:dk1>
      <a:srgbClr val="000000"/>
    </a:dk1>
    <a:lt1>
      <a:srgbClr val="FFFFFF"/>
    </a:lt1>
    <a:dk2>
      <a:srgbClr val="44546A"/>
    </a:dk2>
    <a:lt2>
      <a:srgbClr val="E7E6E6"/>
    </a:lt2>
    <a:accent1>
      <a:srgbClr val="040920"/>
    </a:accent1>
    <a:accent2>
      <a:srgbClr val="272A59"/>
    </a:accent2>
    <a:accent3>
      <a:srgbClr val="40477C"/>
    </a:accent3>
    <a:accent4>
      <a:srgbClr val="0BBBEF"/>
    </a:accent4>
    <a:accent5>
      <a:srgbClr val="B1AFF9"/>
    </a:accent5>
    <a:accent6>
      <a:srgbClr val="E75000"/>
    </a:accent6>
    <a:hlink>
      <a:srgbClr val="379CD7"/>
    </a:hlink>
    <a:folHlink>
      <a:srgbClr val="57417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18374C677858444E8AA0BB8BB0D0ED25" ma:contentTypeVersion="16" ma:contentTypeDescription="Crear nuevo documento." ma:contentTypeScope="" ma:versionID="01bc0f27f1283ec255106f090f467d3c">
  <xsd:schema xmlns:xsd="http://www.w3.org/2001/XMLSchema" xmlns:xs="http://www.w3.org/2001/XMLSchema" xmlns:p="http://schemas.microsoft.com/office/2006/metadata/properties" xmlns:ns2="08031b62-9f4c-4e7f-bc0d-0ebf66e94f9c" xmlns:ns3="02feef19-8635-4ac1-99c8-359b55ecb566" targetNamespace="http://schemas.microsoft.com/office/2006/metadata/properties" ma:root="true" ma:fieldsID="322aaca5ab5c3af927b976ad001cfbdb" ns2:_="" ns3:_="">
    <xsd:import namespace="08031b62-9f4c-4e7f-bc0d-0ebf66e94f9c"/>
    <xsd:import namespace="02feef19-8635-4ac1-99c8-359b55ecb56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031b62-9f4c-4e7f-bc0d-0ebf66e94f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Etiquetas de imagen" ma:readOnly="false" ma:fieldId="{5cf76f15-5ced-4ddc-b409-7134ff3c332f}" ma:taxonomyMulti="true" ma:sspId="4e9e73d8-5e95-4c28-afa1-90bb81f96273"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2feef19-8635-4ac1-99c8-359b55ecb566"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936eeedb-7598-4dbc-b1c4-21acdd65fb75}" ma:internalName="TaxCatchAll" ma:showField="CatchAllData" ma:web="02feef19-8635-4ac1-99c8-359b55ecb566">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02feef19-8635-4ac1-99c8-359b55ecb566" xsi:nil="true"/>
    <lcf76f155ced4ddcb4097134ff3c332f xmlns="08031b62-9f4c-4e7f-bc0d-0ebf66e94f9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267D8F2-2230-4EBF-8747-73EBD866996E}">
  <ds:schemaRefs>
    <ds:schemaRef ds:uri="02feef19-8635-4ac1-99c8-359b55ecb566"/>
    <ds:schemaRef ds:uri="08031b62-9f4c-4e7f-bc0d-0ebf66e94f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BBA87EF-92C8-4D69-89E5-F4B6D4B0E53E}">
  <ds:schemaRefs>
    <ds:schemaRef ds:uri="http://schemas.microsoft.com/sharepoint/v3/contenttype/forms"/>
  </ds:schemaRefs>
</ds:datastoreItem>
</file>

<file path=customXml/itemProps3.xml><?xml version="1.0" encoding="utf-8"?>
<ds:datastoreItem xmlns:ds="http://schemas.openxmlformats.org/officeDocument/2006/customXml" ds:itemID="{BEA55691-0B22-4B08-B550-A153D6ED4B7A}">
  <ds:schemaRefs>
    <ds:schemaRef ds:uri="02feef19-8635-4ac1-99c8-359b55ecb566"/>
    <ds:schemaRef ds:uri="08031b62-9f4c-4e7f-bc0d-0ebf66e94f9c"/>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2D1EDFBE-DF1C-E24C-A567-6728B78A4D83}tf16401378</Template>
  <TotalTime>42</TotalTime>
  <Words>3082</Words>
  <Application>Microsoft Office PowerPoint</Application>
  <PresentationFormat>Panorámica</PresentationFormat>
  <Paragraphs>580</Paragraphs>
  <Slides>24</Slides>
  <Notes>24</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24</vt:i4>
      </vt:variant>
    </vt:vector>
  </HeadingPairs>
  <TitlesOfParts>
    <vt:vector size="34" baseType="lpstr">
      <vt:lpstr>Aptos</vt:lpstr>
      <vt:lpstr>Arial</vt:lpstr>
      <vt:lpstr>Calibri</vt:lpstr>
      <vt:lpstr>Calibri Light</vt:lpstr>
      <vt:lpstr>Century Gothic</vt:lpstr>
      <vt:lpstr>Lufga</vt:lpstr>
      <vt:lpstr>Montserrat</vt:lpstr>
      <vt:lpstr>Poppins</vt:lpstr>
      <vt:lpstr>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icrosoft Office User</dc:creator>
  <cp:lastModifiedBy>Polanco Zanetta, Sebastian</cp:lastModifiedBy>
  <cp:revision>1</cp:revision>
  <cp:lastPrinted>2023-08-16T20:47:45Z</cp:lastPrinted>
  <dcterms:created xsi:type="dcterms:W3CDTF">2021-09-06T15:25:55Z</dcterms:created>
  <dcterms:modified xsi:type="dcterms:W3CDTF">2025-05-09T01:4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374C677858444E8AA0BB8BB0D0ED25</vt:lpwstr>
  </property>
  <property fmtid="{D5CDD505-2E9C-101B-9397-08002B2CF9AE}" pid="3" name="MediaServiceImageTags">
    <vt:lpwstr/>
  </property>
</Properties>
</file>